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7"/>
  </p:notesMasterIdLst>
  <p:sldIdLst>
    <p:sldId id="386" r:id="rId2"/>
    <p:sldId id="578" r:id="rId3"/>
    <p:sldId id="456" r:id="rId4"/>
    <p:sldId id="579" r:id="rId5"/>
    <p:sldId id="329" r:id="rId6"/>
    <p:sldId id="328" r:id="rId7"/>
    <p:sldId id="372" r:id="rId8"/>
    <p:sldId id="545" r:id="rId9"/>
    <p:sldId id="457" r:id="rId10"/>
    <p:sldId id="360" r:id="rId11"/>
    <p:sldId id="366" r:id="rId12"/>
    <p:sldId id="367" r:id="rId13"/>
    <p:sldId id="368" r:id="rId14"/>
    <p:sldId id="294" r:id="rId15"/>
    <p:sldId id="548" r:id="rId16"/>
    <p:sldId id="556" r:id="rId17"/>
    <p:sldId id="458" r:id="rId18"/>
    <p:sldId id="459" r:id="rId19"/>
    <p:sldId id="345" r:id="rId20"/>
    <p:sldId id="303" r:id="rId21"/>
    <p:sldId id="338" r:id="rId22"/>
    <p:sldId id="450" r:id="rId23"/>
    <p:sldId id="460" r:id="rId24"/>
    <p:sldId id="510" r:id="rId25"/>
    <p:sldId id="270" r:id="rId26"/>
    <p:sldId id="299" r:id="rId27"/>
    <p:sldId id="305" r:id="rId28"/>
    <p:sldId id="306" r:id="rId29"/>
    <p:sldId id="511" r:id="rId30"/>
    <p:sldId id="543" r:id="rId31"/>
    <p:sldId id="512" r:id="rId32"/>
    <p:sldId id="513" r:id="rId33"/>
    <p:sldId id="514" r:id="rId34"/>
    <p:sldId id="528" r:id="rId35"/>
    <p:sldId id="580" r:id="rId36"/>
    <p:sldId id="320" r:id="rId37"/>
    <p:sldId id="546" r:id="rId38"/>
    <p:sldId id="291" r:id="rId39"/>
    <p:sldId id="272" r:id="rId40"/>
    <p:sldId id="575" r:id="rId41"/>
    <p:sldId id="274" r:id="rId42"/>
    <p:sldId id="576" r:id="rId43"/>
    <p:sldId id="369" r:id="rId44"/>
    <p:sldId id="355" r:id="rId45"/>
    <p:sldId id="353" r:id="rId46"/>
    <p:sldId id="354" r:id="rId47"/>
    <p:sldId id="322" r:id="rId48"/>
    <p:sldId id="321" r:id="rId49"/>
    <p:sldId id="549" r:id="rId50"/>
    <p:sldId id="552" r:id="rId51"/>
    <p:sldId id="550" r:id="rId52"/>
    <p:sldId id="551" r:id="rId53"/>
    <p:sldId id="581" r:id="rId54"/>
    <p:sldId id="582" r:id="rId55"/>
    <p:sldId id="261" r:id="rId56"/>
    <p:sldId id="327" r:id="rId57"/>
    <p:sldId id="326" r:id="rId58"/>
    <p:sldId id="325" r:id="rId59"/>
    <p:sldId id="317" r:id="rId60"/>
    <p:sldId id="565" r:id="rId61"/>
    <p:sldId id="553" r:id="rId62"/>
    <p:sldId id="564" r:id="rId63"/>
    <p:sldId id="554" r:id="rId64"/>
    <p:sldId id="558" r:id="rId65"/>
    <p:sldId id="559" r:id="rId66"/>
    <p:sldId id="566" r:id="rId67"/>
    <p:sldId id="343" r:id="rId68"/>
    <p:sldId id="560" r:id="rId69"/>
    <p:sldId id="567" r:id="rId70"/>
    <p:sldId id="359" r:id="rId71"/>
    <p:sldId id="344" r:id="rId72"/>
    <p:sldId id="562" r:id="rId73"/>
    <p:sldId id="381" r:id="rId74"/>
    <p:sldId id="570" r:id="rId75"/>
    <p:sldId id="383" r:id="rId76"/>
    <p:sldId id="263" r:id="rId77"/>
    <p:sldId id="358" r:id="rId78"/>
    <p:sldId id="316" r:id="rId79"/>
    <p:sldId id="572" r:id="rId80"/>
    <p:sldId id="573" r:id="rId81"/>
    <p:sldId id="571" r:id="rId82"/>
    <p:sldId id="574" r:id="rId83"/>
    <p:sldId id="266" r:id="rId84"/>
    <p:sldId id="557" r:id="rId85"/>
    <p:sldId id="280" r:id="rId86"/>
  </p:sldIdLst>
  <p:sldSz cx="12192000" cy="6858000"/>
  <p:notesSz cx="6858000" cy="9144000"/>
  <p:custDataLst>
    <p:tags r:id="rId8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B6C4"/>
    <a:srgbClr val="C45344"/>
    <a:srgbClr val="494996"/>
    <a:srgbClr val="333387"/>
    <a:srgbClr val="5079C1"/>
    <a:srgbClr val="718BFF"/>
    <a:srgbClr val="89C77A"/>
    <a:srgbClr val="7744C4"/>
    <a:srgbClr val="E9B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808"/>
    <p:restoredTop sz="75983"/>
  </p:normalViewPr>
  <p:slideViewPr>
    <p:cSldViewPr snapToGrid="0">
      <p:cViewPr varScale="1">
        <p:scale>
          <a:sx n="63" d="100"/>
          <a:sy n="63" d="100"/>
        </p:scale>
        <p:origin x="200" y="6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presProps" Target="pres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viewProps" Target="viewProps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tags" Target="tags/tag1.xml"/><Relationship Id="rId9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bleStyles" Target="tableStyle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CE2D1-4B9C-0441-AC2C-4EC47951C1D5}" type="datetimeFigureOut">
              <a:rPr lang="en-US" smtClean="0"/>
              <a:t>8/2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1AA8-C84E-A04D-929A-FBFD84185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0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8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A99CF-C849-CFAA-5D19-AB62ADCF4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63EC8F-167B-CA62-7A46-339847353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EF0C1-3751-31C8-5288-A3F9DD675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618-9BC2-5C54-588B-7090D853D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72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790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0130A-3EE5-DC89-18CD-3097B1689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D43D8-97D8-961E-470A-1E800CD32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563DCD-92F5-AD5F-9517-22213F8B2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F895C-4902-566C-81EF-257501B7B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299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SLIDE BEF ORE WITHOUT </a:t>
            </a:r>
            <a:r>
              <a:rPr lang="en-US" dirty="0" err="1"/>
              <a:t>X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662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9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55562-8971-67EE-8208-BC5F70CC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6EFD9-832B-5A52-065C-A0997A3B2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C39D6-7165-9D57-BB03-74DE064DA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4230A-AC84-AC09-A14F-0EAA5904C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73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454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NFO ABOUT THE SILENT STAT=S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653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alitative – nominal (no ord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17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753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 col=contin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422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2C6F8-97FA-5F9E-492D-D49511616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467903-BEA9-622B-2E60-0AF2A9BD9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3D03AE-1F59-642E-ADE7-9B824FCE5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RRECT CO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54329-E19E-7900-3C35-5E3760AEF2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529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 USING A HIGHLIGHT COL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480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4AC2F-DAE6-A77C-3DDE-3B18B61E8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244976-D2EA-523B-ADB1-4C2DAF1366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F1E517-DE63-BEE9-DD7C-5CA023B967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0685A-6ED3-96CD-EE6A-374015568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10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572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ffer workshops and individual consul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6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63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2598-396D-E99A-3372-F57DB718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B6D2A-9643-76AA-DC64-B1FD5B2E8A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C9A420-BD69-653F-DA1B-14FE2FCB7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37791-46C5-B0E5-AA5C-F15CB3BFA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13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8517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tegration with analysis in R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ccinct 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ersat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ublication ready graphics </a:t>
            </a:r>
          </a:p>
          <a:p>
            <a:r>
              <a:rPr lang="en-US" sz="1200" dirty="0"/>
              <a:t>     (or at least pretty close to i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87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poke fig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97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7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78B91-F44B-54D6-F179-AC6D9431C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126999-BF2C-B8A6-6761-E9AA32F3E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7CF0C-D4AD-0BD2-E72B-BF0734BEC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7368C-55B4-11A0-AF96-AEE9E36B8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42129-4F68-D807-F2B0-DD5A401E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6184-9A5B-DAD6-A632-944A6A64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BACA3D-C01C-89F2-23E7-8A6ECF28E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5642-1E76-10C8-99BC-C89688A52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F02E-38B4-35D8-7EB5-B5609BAC6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B29B9-4151-41E0-BCE0-F50858F4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6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7F8EB-A346-F0C3-6637-1BFE99E76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FA26DA-D09C-387F-8137-A77AF48C7F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3AAB20-2883-D687-D807-D155B503A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B4FDB-0D9D-B5B4-C44A-C5B0A893B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206B-CB12-6E84-49D4-767B913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643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4569-072D-CD1D-2BAF-41FACB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DBEE-43EE-6BE6-4E7C-FD36B1EBE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3F218-E031-F0ED-AA6C-1A4730C0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0D622-827B-00DA-F087-1288AAFC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E6D00-5F0C-B2DA-5750-DF02F7FA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8FD2-C4BA-A925-79CF-B8A78151F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9F129-6131-2874-9AFE-D19E7C06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72B4C-C88B-7A92-660A-92D6BE86E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6D878-79F4-6514-6CF3-CEA37D49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76A10-68F7-2FA7-E8E4-381A5142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8C3A6-DEB3-913F-D251-93362826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A17B-7B2B-A857-A5DB-5F435520C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E97A4-3C78-A693-98B2-E4B603C116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54BE6-B2D0-9183-4509-CFF9CA56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559C4E-554A-779A-7AFA-792F2D839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71B8A-A374-F921-F7D8-B1DB0544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47EBF-11B9-5BDF-A4C2-3D92DEBF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4011C-C123-95DD-283A-041DFC5C65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212D45-5800-80D9-FE44-6CC193C8D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0F963-FCEE-E625-6CA3-C4F81F5667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FAB9EA-EA2B-0C8C-71D8-83732F1528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8AC402-75E8-EF28-BE4C-49B1EB44F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DAA23-387E-C3E3-2C70-5756AEFE1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30D9-1EC5-80E2-B90F-64824627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86FDE-E248-44B1-F998-495E40DF8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B4D8E7-ED5A-47C4-E16B-FACE6D2D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91F43D-8D95-8DA6-28DF-0E35B4F0E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01358-80D7-91F9-BBBB-5984732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60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9EEF4-0A02-EE33-50E9-5FE949E45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5D9A74-D0F4-2107-25D5-E070B57C5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B189F-C428-6708-8D56-B11A992F8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1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B37A1-27B6-AD8F-E26E-CD5898589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5A4A-9210-613E-1F56-3730A6466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65555-C490-D184-2444-064B9F4AB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4A7F2-A0C3-0B45-F436-5A9D8ED5D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AAD6F7-138A-AFD1-9AD9-2F5ED45B1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E20D7-B9D7-3197-FFB4-D01993801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19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B952-7AC1-5911-5429-0F8BDCB0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9450F9-3F7F-065D-2A28-A3C0519F1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32368-60E0-4864-84E0-EADB31FAC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0A0D5-D558-58AD-280E-0DBE118B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682A2-7CC1-0A38-4FEB-469630AC3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88DB44-7013-46DE-83F0-A3FC9EFBC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5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96DBAC-1D77-2B9F-6D46-5767491BB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960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F5BB54-F2EB-CBFC-4937-0B3FE9136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D0AE-EAF7-04FA-0E43-8FAB898E7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4D0B7-082C-8CD7-9CDF-F3336EC23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BF4F2-DC52-B843-9495-7535C0DE495D}" type="datetimeFigureOut">
              <a:rPr lang="en-US" smtClean="0"/>
              <a:t>8/2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3A14B-4751-B7AA-DBAC-30D7DFFC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5BA2-492C-7B30-59D3-C8DB4C2F8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5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31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46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43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05579" y="2851183"/>
            <a:ext cx="238069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8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717" y="2568767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0" y="870332"/>
            <a:ext cx="9888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in R using ggplot2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77733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F0F7216-9F54-1936-C6C6-6B87259F7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61"/>
          <a:stretch/>
        </p:blipFill>
        <p:spPr bwMode="auto">
          <a:xfrm>
            <a:off x="1" y="423748"/>
            <a:ext cx="5907314" cy="529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137E1BB5-ADB0-B489-ED47-D87446957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77" b="5270"/>
          <a:stretch/>
        </p:blipFill>
        <p:spPr bwMode="auto">
          <a:xfrm>
            <a:off x="5907315" y="886993"/>
            <a:ext cx="6095999" cy="359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FF5432DB-0D04-C120-171C-260AE3F1B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467"/>
          <a:stretch/>
        </p:blipFill>
        <p:spPr bwMode="auto">
          <a:xfrm>
            <a:off x="5690735" y="6314879"/>
            <a:ext cx="6312579" cy="54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617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4400566-F925-ED3F-1BD4-50A8A4836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88" y="947542"/>
            <a:ext cx="11745824" cy="496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9181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0FFEDA0-AA78-42CF-B327-0DBFCCB6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1143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28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582" y="0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994565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" y="20408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FE112D-8128-B729-CB13-F07F8702A137}"/>
              </a:ext>
            </a:extLst>
          </p:cNvPr>
          <p:cNvSpPr/>
          <p:nvPr/>
        </p:nvSpPr>
        <p:spPr>
          <a:xfrm>
            <a:off x="42970" y="20408"/>
            <a:ext cx="5151436" cy="1958704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0E6992-BBA6-A77B-24F6-79A245F93289}"/>
              </a:ext>
            </a:extLst>
          </p:cNvPr>
          <p:cNvSpPr/>
          <p:nvPr/>
        </p:nvSpPr>
        <p:spPr>
          <a:xfrm>
            <a:off x="30069" y="3870542"/>
            <a:ext cx="5151437" cy="301806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256285-20E4-9437-917A-72334DD63F60}"/>
              </a:ext>
            </a:extLst>
          </p:cNvPr>
          <p:cNvSpPr/>
          <p:nvPr/>
        </p:nvSpPr>
        <p:spPr>
          <a:xfrm>
            <a:off x="30070" y="1979112"/>
            <a:ext cx="2512714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04873A-63C4-4200-526E-EB88370B35E6}"/>
              </a:ext>
            </a:extLst>
          </p:cNvPr>
          <p:cNvSpPr/>
          <p:nvPr/>
        </p:nvSpPr>
        <p:spPr>
          <a:xfrm>
            <a:off x="4434777" y="1979111"/>
            <a:ext cx="746729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94F1C3-193F-3BAC-164F-CA5BBC1B46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0" t="29623" r="12512" b="43345"/>
          <a:stretch/>
        </p:blipFill>
        <p:spPr bwMode="auto">
          <a:xfrm>
            <a:off x="5207306" y="163648"/>
            <a:ext cx="6106538" cy="584803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706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Map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AD6ED74-EE00-B8F5-58D8-B57662CE36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CD5761-22A6-0BD1-EE64-FDA6BEB679C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B0F4CE-5A9D-8A4F-9EA8-EC738689183D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1B75B5C-CDB3-5D24-5B96-EC78C35EE01F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EDD91-9583-1156-5E9E-26D7DB95845A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1DB83-2CAA-4480-FBAC-268A3EB203C8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52BDC9-2A9D-7FA4-E606-777CEE604BC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647492-4373-D384-CE76-D6A2ECB680D3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804716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7E85D-3860-231C-B4AB-D2F5A62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51F28730-E589-FCC4-70E3-781255809F8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4">
              <a:lumMod val="75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8D59DE3-AF5C-881E-27A5-EF538A23FC04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2B09F3FE-F193-3D49-A4A5-759A12294132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030A0">
              <a:alpha val="58947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596FF55-37FA-2DB4-3895-A4198074F0AD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38BFC0E-8BF3-05A8-4704-042B1CD0C0E9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230F6164-1465-F031-2A73-9F47048FBB9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0A6B0A-A0FC-540C-6D53-A3B52556BC6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04B4DE-1B45-2469-C0F5-87E4E818D032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EB39B8-BFBF-63E6-2057-CD9E56850C5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49461E-BAAB-5EC6-3E63-FFE1A8902B72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62A2C-B3A5-C18C-B2DA-EEC422C5947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404556-11A5-6DFD-88C2-170AEC528A20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9677E-6D98-330D-059B-7D274431B3C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8480C37-A479-5132-77BB-0E5CBDEF899D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DB60CB9-148D-F66C-0675-DBF75ADD921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6065271-B264-B859-3B91-308B2CF20C6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6D930EC-0EE7-3C05-E9AA-106684E8A20B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E9819-9CA9-D4EB-7F86-A4268CD73FE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197C1-86AC-3700-1FB1-25C505FA7DBB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49BD32-72C2-55A3-1A67-43D755BC9A26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rgbClr val="7744C4">
              <a:alpha val="54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FA5455-B7A8-D615-18BC-FD14C50B96F9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2247D01-9892-85F8-78CE-CA0BC2891EDE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rgbClr val="C45344">
              <a:alpha val="49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D651AE-8553-5844-8D2E-A978903FBDA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40E7D31-0205-41ED-C061-92CF00AF5707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accent4">
              <a:lumMod val="75000"/>
              <a:alpha val="54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4903313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717432F-7126-DC99-707C-987F07066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C63F5A-FCEC-545A-66F1-069D382F7A29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86B0A5-3FB9-9A93-3B65-EB377E59C6F8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382703-2DF0-AE60-5DD8-946BB4C15A5C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ABCD67-2406-C6B4-CBF6-B336713B80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FB5F32-7BD1-CA44-EFD1-313F3D53B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07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0CA9C-4350-DE0E-5242-40A95F2C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27F5E7-0157-DC88-6DDA-FA495A4BE90F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04C37-5540-9163-D078-7AA47BC29E20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22224F-F8CB-507D-A02B-9A027F23E5B9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2F111A-C4A7-C2F4-8E25-0F8283A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D1267B-C09F-62CD-2E18-39A35C92F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FA2FAA-6DEF-8751-3C56-8328B37D064E}"/>
              </a:ext>
            </a:extLst>
          </p:cNvPr>
          <p:cNvSpPr/>
          <p:nvPr/>
        </p:nvSpPr>
        <p:spPr>
          <a:xfrm>
            <a:off x="7994074" y="2191538"/>
            <a:ext cx="2174133" cy="2333682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E8529-A1D7-D631-6E0F-B772F1C62770}"/>
              </a:ext>
            </a:extLst>
          </p:cNvPr>
          <p:cNvSpPr/>
          <p:nvPr/>
        </p:nvSpPr>
        <p:spPr>
          <a:xfrm>
            <a:off x="2452255" y="1793242"/>
            <a:ext cx="2142328" cy="1631794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998625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A7CD13-21C4-1D1E-893B-8424F1C02BB7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07E550-1A1C-5C07-7264-1016B4F0DA74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2A275A-7A25-EA07-83E4-2260AEA5EA47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59FDA-6833-4CF0-CECE-53B98FE8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77CABD-CE43-52F3-4B8A-DB97C5D56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EE68DE-B2C1-0E35-5190-057ACBE6C913}"/>
              </a:ext>
            </a:extLst>
          </p:cNvPr>
          <p:cNvSpPr/>
          <p:nvPr/>
        </p:nvSpPr>
        <p:spPr>
          <a:xfrm>
            <a:off x="7980217" y="2230586"/>
            <a:ext cx="2187989" cy="218627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DC7FCE-1047-5CCA-3FB7-8F616082D2EF}"/>
              </a:ext>
            </a:extLst>
          </p:cNvPr>
          <p:cNvSpPr/>
          <p:nvPr/>
        </p:nvSpPr>
        <p:spPr>
          <a:xfrm>
            <a:off x="2507673" y="1793240"/>
            <a:ext cx="2086910" cy="1631795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A5B2D-CD5A-A5F0-A99D-A62677A087EE}"/>
              </a:ext>
            </a:extLst>
          </p:cNvPr>
          <p:cNvSpPr txBox="1"/>
          <p:nvPr/>
        </p:nvSpPr>
        <p:spPr>
          <a:xfrm>
            <a:off x="1839246" y="5110328"/>
            <a:ext cx="69448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err="1">
                <a:solidFill>
                  <a:schemeClr val="accent2"/>
                </a:solidFill>
              </a:rPr>
              <a:t>Wide_data</a:t>
            </a:r>
            <a:r>
              <a:rPr lang="en-US" sz="2800" dirty="0">
                <a:solidFill>
                  <a:schemeClr val="accent2"/>
                </a:solidFill>
              </a:rPr>
              <a:t> </a:t>
            </a:r>
            <a:r>
              <a:rPr lang="en-US" sz="2800" dirty="0"/>
              <a:t>= spread(</a:t>
            </a:r>
            <a:r>
              <a:rPr lang="en-US" sz="2800" dirty="0" err="1">
                <a:solidFill>
                  <a:srgbClr val="5079C1"/>
                </a:solidFill>
              </a:rPr>
              <a:t>Long_data</a:t>
            </a:r>
            <a:r>
              <a:rPr lang="en-US" sz="2800" dirty="0"/>
              <a:t>, sex, number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A05AED5-4D4D-86C8-A831-917677A77D57}"/>
              </a:ext>
            </a:extLst>
          </p:cNvPr>
          <p:cNvCxnSpPr/>
          <p:nvPr/>
        </p:nvCxnSpPr>
        <p:spPr>
          <a:xfrm>
            <a:off x="5034807" y="2707920"/>
            <a:ext cx="1402080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9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05579" y="2851183"/>
            <a:ext cx="238069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8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717" y="2568767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0" y="870332"/>
            <a:ext cx="9888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in R using ggplot2</a:t>
            </a:r>
            <a:endParaRPr lang="en-US" sz="40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453B2FC-8BBA-517D-346B-4A477D0629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24523" y="4908978"/>
            <a:ext cx="3685217" cy="769441"/>
          </a:xfrm>
          <a:prstGeom prst="rect">
            <a:avLst/>
          </a:prstGeom>
        </p:spPr>
      </p:pic>
      <p:pic>
        <p:nvPicPr>
          <p:cNvPr id="7" name="Picture 4" descr="Center for Data and Visualization Sciences">
            <a:extLst>
              <a:ext uri="{FF2B5EF4-FFF2-40B4-BE49-F238E27FC236}">
                <a16:creationId xmlns:a16="http://schemas.microsoft.com/office/drawing/2014/main" id="{B67B1A11-9FC3-0F1E-FF47-B1A534892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098" y="4140318"/>
            <a:ext cx="1990370" cy="184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400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pic>
        <p:nvPicPr>
          <p:cNvPr id="3" name="Picture 2" descr="A table of numbers with text&#10;&#10;Description automatically generated with medium confidence">
            <a:extLst>
              <a:ext uri="{FF2B5EF4-FFF2-40B4-BE49-F238E27FC236}">
                <a16:creationId xmlns:a16="http://schemas.microsoft.com/office/drawing/2014/main" id="{9395E5CB-73CD-A347-F7C9-5F35277B7D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52" y="1855599"/>
            <a:ext cx="12449739" cy="259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76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0E9C84D-22D8-4055-59B7-445E86FB29C5}"/>
              </a:ext>
            </a:extLst>
          </p:cNvPr>
          <p:cNvSpPr/>
          <p:nvPr/>
        </p:nvSpPr>
        <p:spPr>
          <a:xfrm>
            <a:off x="4353641" y="1950220"/>
            <a:ext cx="1948305" cy="20883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74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B5E5B08-4528-E098-C6E7-E04D0CD05444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C82FFB-DF17-1371-7893-18868DA401D4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9578D-BE3F-5FDC-65C0-310E8F75180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23639938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68847-E8EE-AEDA-3B4D-252D1B368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9ED3F398-4A1A-1BD3-5344-99BD34EE0E84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28A3019E-E38C-878F-2BC9-0F5013E1FB68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661CB9E2-83D4-2C7C-9C98-10EF1CBC6DC6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A1CC38-818B-CD5A-9217-B22B37E73D7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98F3F6-F4FF-719A-CC85-3995F89B8CC5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FFB4E-6D3B-16BE-CA56-3D95D8C41B30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5C694-222B-58F9-4AF6-228EE26952AF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94C2110-5954-6365-6CC6-D5D84F8BC0DE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24D51C4D-5725-C5D5-BB26-977C7E812A82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7D8B-C000-8C5F-C8B0-C50FFF2D618A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26B8EF0-7F3F-5ACD-9378-F9B6761E9C3B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A2738E-65F6-F029-FB32-64811DCFF4FA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569B65-ECDF-60B1-50EC-C25D8A2EBFA7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DFD95-D070-0354-AB64-2B931F239286}"/>
              </a:ext>
            </a:extLst>
          </p:cNvPr>
          <p:cNvSpPr txBox="1"/>
          <p:nvPr/>
        </p:nvSpPr>
        <p:spPr>
          <a:xfrm>
            <a:off x="379851" y="37287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402C0E1-DB9D-2CDB-F097-3D336CAB1044}"/>
              </a:ext>
            </a:extLst>
          </p:cNvPr>
          <p:cNvSpPr/>
          <p:nvPr/>
        </p:nvSpPr>
        <p:spPr>
          <a:xfrm>
            <a:off x="1568139" y="37321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0DCD892-2E44-F07E-F674-EA56AAC559DE}"/>
              </a:ext>
            </a:extLst>
          </p:cNvPr>
          <p:cNvSpPr/>
          <p:nvPr/>
        </p:nvSpPr>
        <p:spPr>
          <a:xfrm>
            <a:off x="4219298" y="373373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D64B9BF-4C9B-A32E-FDA7-DFFE941BADB0}"/>
              </a:ext>
            </a:extLst>
          </p:cNvPr>
          <p:cNvSpPr/>
          <p:nvPr/>
        </p:nvSpPr>
        <p:spPr>
          <a:xfrm>
            <a:off x="1568139" y="439928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347203-6C81-084D-7E64-610E4D1F4A06}"/>
              </a:ext>
            </a:extLst>
          </p:cNvPr>
          <p:cNvSpPr txBox="1"/>
          <p:nvPr/>
        </p:nvSpPr>
        <p:spPr>
          <a:xfrm>
            <a:off x="7938172" y="372879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07936B-D511-40C4-D5C0-7A1DC098BFD2}"/>
              </a:ext>
            </a:extLst>
          </p:cNvPr>
          <p:cNvSpPr txBox="1"/>
          <p:nvPr/>
        </p:nvSpPr>
        <p:spPr>
          <a:xfrm>
            <a:off x="4007966" y="37029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</p:spTree>
    <p:extLst>
      <p:ext uri="{BB962C8B-B14F-4D97-AF65-F5344CB8AC3E}">
        <p14:creationId xmlns:p14="http://schemas.microsoft.com/office/powerpoint/2010/main" val="39232618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32C8E7-73FA-DE9A-744F-A498F64BC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686" y="1606519"/>
            <a:ext cx="4964386" cy="491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254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9F8E165-4F54-427F-8976-08D88372F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4C2D3482-9722-27AF-DDD2-F78C0D985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9CAB4C0-BC66-313B-AFF9-C3086EF283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09ECF20D-828C-BC22-9EAA-049966A64D50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53565986-EEA4-8D55-329D-B0C067E96FC8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92ED75D1-0D97-A177-3FE4-6EB4D7BE41DC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E933A2CF-5FA2-D101-893F-2FA31CDAF9DA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8E333C4E-4A89-1773-608B-7852D958C5BA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7B50E680-B35A-3510-A924-1634CB8897AC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3B10A0-DA2D-83A6-0F97-08DDEEBE553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C78DA6-D22A-481F-5A46-DEFC3290A178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BD323-52A1-7A80-0A85-C16CDB42327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9ED5E-97D6-2DBD-CC57-95DC73AEA601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48CC54-F380-0C33-FD37-8F9803A4F24A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DD58ED3-64D4-37C4-1711-65AC52AE4CFB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9A7DE3-33AC-3250-6B99-031EA943C5F2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DA5BAB-5BAE-BCF7-5DAC-C0104FD9C1E6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28E712B-A2C5-F5F0-9875-708A9F5448CF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E438BC49-D9DC-E1E7-2C01-57E797C0F7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EC9A5A0B-7A05-368F-804F-C37007D53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02BBB64-882F-A544-B8C3-F69599F48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16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5EBCDCD-4393-90B7-7661-3D5494F97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1665"/>
            <a:ext cx="13966188" cy="66106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34667E-AA44-043E-1414-42DB76F44EC1}"/>
              </a:ext>
            </a:extLst>
          </p:cNvPr>
          <p:cNvSpPr txBox="1"/>
          <p:nvPr/>
        </p:nvSpPr>
        <p:spPr>
          <a:xfrm>
            <a:off x="149902" y="74950"/>
            <a:ext cx="539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120 ggplot2 extension libraries</a:t>
            </a:r>
          </a:p>
        </p:txBody>
      </p:sp>
    </p:spTree>
    <p:extLst>
      <p:ext uri="{BB962C8B-B14F-4D97-AF65-F5344CB8AC3E}">
        <p14:creationId xmlns:p14="http://schemas.microsoft.com/office/powerpoint/2010/main" val="1367648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89945" y="1033271"/>
            <a:ext cx="3118052" cy="400110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032331" y="1044465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</a:t>
            </a:r>
            <a:r>
              <a:rPr lang="en-US" sz="2000" b="1" dirty="0">
                <a:latin typeface="Monaco" pitchFamily="2" charset="77"/>
              </a:rPr>
              <a:t>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84957-F838-D306-D07F-E64807463F1E}"/>
              </a:ext>
            </a:extLst>
          </p:cNvPr>
          <p:cNvSpPr txBox="1"/>
          <p:nvPr/>
        </p:nvSpPr>
        <p:spPr>
          <a:xfrm>
            <a:off x="1620440" y="3924533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224522-71EC-D62B-9C46-681FB4873BA7}"/>
              </a:ext>
            </a:extLst>
          </p:cNvPr>
          <p:cNvSpPr txBox="1"/>
          <p:nvPr/>
        </p:nvSpPr>
        <p:spPr>
          <a:xfrm>
            <a:off x="2319316" y="3136612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2E7572C-6F79-6871-090D-0FE4BEDF1B2C}"/>
              </a:ext>
            </a:extLst>
          </p:cNvPr>
          <p:cNvSpPr/>
          <p:nvPr/>
        </p:nvSpPr>
        <p:spPr>
          <a:xfrm>
            <a:off x="7166551" y="939782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402114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872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65999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4F5CE-81D3-632B-534B-3419404F0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0BCE9FC-B6AB-CEF2-545C-414DB79357A5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ED5CCA3-5998-448D-6A5A-C0A14A53B3B4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FAB33BE-615A-B46D-E637-BEDD6BC0114D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3FE84EB-FB10-315F-4BAD-544A23B4DAE7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5DABFA-D9F1-0640-3605-04F57B3656C4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26EA6F-A0A0-3523-C94C-96439D2EFC86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4B9678-87C3-BDAE-A955-1F7FF0565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6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A687-2A07-CBC6-FE4D-C40A29C70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57" y="14270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enter for Data &amp; Visualization Sciences (CDVS)</a:t>
            </a:r>
          </a:p>
        </p:txBody>
      </p:sp>
      <p:pic>
        <p:nvPicPr>
          <p:cNvPr id="3" name="Picture 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51A150-CDCF-558A-C90D-5E92DB8102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1" t="10226" r="3551" b="1"/>
          <a:stretch/>
        </p:blipFill>
        <p:spPr>
          <a:xfrm>
            <a:off x="393357" y="1677536"/>
            <a:ext cx="5499330" cy="350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66DF19-7C4A-F69A-BD5C-4403716CE044}"/>
              </a:ext>
            </a:extLst>
          </p:cNvPr>
          <p:cNvSpPr txBox="1"/>
          <p:nvPr/>
        </p:nvSpPr>
        <p:spPr>
          <a:xfrm>
            <a:off x="6732748" y="4918853"/>
            <a:ext cx="3879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</a:rPr>
              <a:t>AskData@duke.edu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itchFamily="2" charset="0"/>
            </a:endParaRPr>
          </a:p>
        </p:txBody>
      </p:sp>
      <p:pic>
        <p:nvPicPr>
          <p:cNvPr id="6" name="Picture 5" descr="Several people working at computers&#10;&#10;Description automatically generated with medium confidence">
            <a:extLst>
              <a:ext uri="{FF2B5EF4-FFF2-40B4-BE49-F238E27FC236}">
                <a16:creationId xmlns:a16="http://schemas.microsoft.com/office/drawing/2014/main" id="{A16C75BA-8D29-84F3-9236-99463AC09F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828" r="13114"/>
          <a:stretch/>
        </p:blipFill>
        <p:spPr>
          <a:xfrm>
            <a:off x="5941417" y="2244436"/>
            <a:ext cx="6250583" cy="242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2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7AB931-2731-6C1A-143A-9B56469944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590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FD72A-D335-1A93-7C22-19E91668E913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FFE5218-AD2E-9C43-1F6F-DCDB77928254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5DE3A5-34D3-F716-FF9B-7FBE6C8AEA1F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6EA73A-E150-F9BA-EE67-0AED259F8D9E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B39C7D-5FD7-925C-C29C-8E3CEAB825F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418030-7A10-B0BB-4EAF-35A1363633BF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71DCBB-6388-7F34-5F58-C87A4014B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52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D23E45C-1835-2125-B552-7B40BC0DA633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F40057C-B58A-0042-E947-910E7268438A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DF80D-DFD2-6719-3375-97E82429F232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28F9577-3F64-C7D7-34C0-8D508ABED301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8C0027E-88D5-1DE1-D1E8-E99FC1C776EB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9434B9-2611-1889-0C21-A0646D3F7BED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DD3EE8-9196-B166-3547-F6F68D4CF3D9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543F874-C7E6-7EE1-1C43-C462E8451C2A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71CF7F4-A352-A03B-FD18-691B8D2D8C41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B3F828-E665-0F72-9BDD-16B2EF87A1EC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A7FE53-18F1-83B7-1C8B-9A0508F4EF0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EA660-F637-5BFE-2E37-7ABF9B7AEFF4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DD0912-9CA0-FEEF-3136-2F1773A4EF52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31DB3D1-C019-0DDA-E2FF-E929897F0E11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5CFD53-EEB2-10C7-0F83-BA101EEF525D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CDC34F9-0A5B-0BC8-7BE8-E884B712301A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65E425-57A6-6421-B597-7A428C287022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778310-1352-A4C7-E948-4624A67A21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Multiply 33">
            <a:extLst>
              <a:ext uri="{FF2B5EF4-FFF2-40B4-BE49-F238E27FC236}">
                <a16:creationId xmlns:a16="http://schemas.microsoft.com/office/drawing/2014/main" id="{689F85D3-CB37-ED7E-C1E1-324CE3AF46B2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5" name="Multiply 34">
            <a:extLst>
              <a:ext uri="{FF2B5EF4-FFF2-40B4-BE49-F238E27FC236}">
                <a16:creationId xmlns:a16="http://schemas.microsoft.com/office/drawing/2014/main" id="{FCBE5E06-DF07-E7D4-1211-EE7CD21FC066}"/>
              </a:ext>
            </a:extLst>
          </p:cNvPr>
          <p:cNvSpPr/>
          <p:nvPr/>
        </p:nvSpPr>
        <p:spPr>
          <a:xfrm>
            <a:off x="1668185" y="1015730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6" name="Multiply 35">
            <a:extLst>
              <a:ext uri="{FF2B5EF4-FFF2-40B4-BE49-F238E27FC236}">
                <a16:creationId xmlns:a16="http://schemas.microsoft.com/office/drawing/2014/main" id="{8E0AF13E-D75A-01C9-E5D9-2A8A704473B0}"/>
              </a:ext>
            </a:extLst>
          </p:cNvPr>
          <p:cNvSpPr/>
          <p:nvPr/>
        </p:nvSpPr>
        <p:spPr>
          <a:xfrm>
            <a:off x="2619881" y="1030467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-8186" y="244021"/>
            <a:ext cx="6475433" cy="2927107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A340A6-B237-EEA5-861F-0092318B7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266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10827" y="136600"/>
            <a:ext cx="6475433" cy="4047345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CE3054-E1AD-7B6B-20B4-C6123CFCF9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04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41463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|&gt; 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05145F-3138-8306-6529-98D257A9C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C0B0BEB-8575-C866-472D-4C5372F307B1}"/>
              </a:ext>
            </a:extLst>
          </p:cNvPr>
          <p:cNvSpPr/>
          <p:nvPr/>
        </p:nvSpPr>
        <p:spPr>
          <a:xfrm>
            <a:off x="3650602" y="5493894"/>
            <a:ext cx="3757534" cy="884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se all produce the same figure!</a:t>
            </a:r>
          </a:p>
        </p:txBody>
      </p:sp>
    </p:spTree>
    <p:extLst>
      <p:ext uri="{BB962C8B-B14F-4D97-AF65-F5344CB8AC3E}">
        <p14:creationId xmlns:p14="http://schemas.microsoft.com/office/powerpoint/2010/main" val="11054995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E380E3D-DB77-3E48-8A07-9F8BD691E153}"/>
              </a:ext>
            </a:extLst>
          </p:cNvPr>
          <p:cNvSpPr/>
          <p:nvPr/>
        </p:nvSpPr>
        <p:spPr>
          <a:xfrm>
            <a:off x="799486" y="1143566"/>
            <a:ext cx="3674543" cy="481260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filter(year == 2019) |&gt;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66FE903-988E-4CB9-8AB9-89545CC1DB40}"/>
              </a:ext>
            </a:extLst>
          </p:cNvPr>
          <p:cNvSpPr/>
          <p:nvPr/>
        </p:nvSpPr>
        <p:spPr>
          <a:xfrm>
            <a:off x="1891533" y="2069215"/>
            <a:ext cx="1927596" cy="3693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3AAB81E-B817-869E-BCE4-3031079C0B32}"/>
              </a:ext>
            </a:extLst>
          </p:cNvPr>
          <p:cNvSpPr/>
          <p:nvPr/>
        </p:nvSpPr>
        <p:spPr>
          <a:xfrm>
            <a:off x="1877115" y="1606391"/>
            <a:ext cx="2892884" cy="3693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6A4BC-7BE4-F09B-54D1-B4C78B2FF076}"/>
              </a:ext>
            </a:extLst>
          </p:cNvPr>
          <p:cNvSpPr txBox="1"/>
          <p:nvPr/>
        </p:nvSpPr>
        <p:spPr>
          <a:xfrm>
            <a:off x="799486" y="162482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38C722-E1E5-E81F-9AB0-D0777A1A887E}"/>
              </a:ext>
            </a:extLst>
          </p:cNvPr>
          <p:cNvSpPr txBox="1"/>
          <p:nvPr/>
        </p:nvSpPr>
        <p:spPr>
          <a:xfrm>
            <a:off x="4684541" y="160750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AA892AD-6D1F-3CB1-590C-0F4DE870C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2047" y="1346975"/>
            <a:ext cx="5845792" cy="518207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18F62B8-34A5-10A8-E645-D894A997EF74}"/>
              </a:ext>
            </a:extLst>
          </p:cNvPr>
          <p:cNvSpPr txBox="1"/>
          <p:nvPr/>
        </p:nvSpPr>
        <p:spPr>
          <a:xfrm>
            <a:off x="484162" y="620213"/>
            <a:ext cx="6098720" cy="4593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  <a:r>
              <a:rPr lang="en-US" sz="1800" dirty="0">
                <a:solidFill>
                  <a:schemeClr val="tx1"/>
                </a:solidFill>
                <a:latin typeface="Monaco" pitchFamily="2" charset="77"/>
              </a:rPr>
              <a:t>|&gt;</a:t>
            </a:r>
          </a:p>
        </p:txBody>
      </p:sp>
    </p:spTree>
    <p:extLst>
      <p:ext uri="{BB962C8B-B14F-4D97-AF65-F5344CB8AC3E}">
        <p14:creationId xmlns:p14="http://schemas.microsoft.com/office/powerpoint/2010/main" val="31952264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C0987F-914C-AAF6-3C61-9651156B5CCE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CEC0C7-1A8A-D97B-A0EE-EA5E277E5E12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3640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33F7-0AE3-BB04-BBA0-3C3AB64FE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2E3E4A31-40AE-31A8-DC3E-A6A2DF80EA4F}"/>
              </a:ext>
            </a:extLst>
          </p:cNvPr>
          <p:cNvSpPr txBox="1"/>
          <p:nvPr/>
        </p:nvSpPr>
        <p:spPr>
          <a:xfrm>
            <a:off x="559776" y="3697375"/>
            <a:ext cx="114417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ndale Mono" panose="020B0509000000000004" pitchFamily="49" charset="0"/>
              </a:rPr>
              <a:t>ggplot</a:t>
            </a:r>
            <a:r>
              <a:rPr lang="en-US" sz="2400" dirty="0">
                <a:latin typeface="Andale Mono" panose="020B0509000000000004" pitchFamily="49" charset="0"/>
              </a:rPr>
              <a:t>(data = happy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aes</a:t>
            </a:r>
            <a:r>
              <a:rPr lang="en-US" sz="2400" dirty="0">
                <a:latin typeface="Andale Mono" panose="020B0509000000000004" pitchFamily="49" charset="0"/>
              </a:rPr>
              <a:t>(x = </a:t>
            </a:r>
            <a:r>
              <a:rPr lang="en-US" sz="2400" dirty="0" err="1">
                <a:latin typeface="Andale Mono" panose="020B0509000000000004" pitchFamily="49" charset="0"/>
              </a:rPr>
              <a:t>happiness,y</a:t>
            </a:r>
            <a:r>
              <a:rPr lang="en-US" sz="2400" dirty="0">
                <a:latin typeface="Andale Mono" panose="020B0509000000000004" pitchFamily="49" charset="0"/>
              </a:rPr>
              <a:t> = GDP,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hape=     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ize=      , 			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col=	      ))+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geom_point</a:t>
            </a:r>
            <a:r>
              <a:rPr lang="en-US" sz="2400" dirty="0">
                <a:latin typeface="Andale Mono" panose="020B0509000000000004" pitchFamily="49" charset="0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  <a:p>
            <a:endParaRPr lang="en-US" sz="2400" dirty="0">
              <a:latin typeface="Andale Mono" panose="020B0509000000000004" pitchFamily="49" charset="0"/>
            </a:endParaRPr>
          </a:p>
          <a:p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066AB6-B47D-A12B-54AF-1236C4AA27A1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F1EB38A-2536-B4AC-6FF6-B9CDA6BDA5ED}"/>
              </a:ext>
            </a:extLst>
          </p:cNvPr>
          <p:cNvSpPr/>
          <p:nvPr/>
        </p:nvSpPr>
        <p:spPr>
          <a:xfrm>
            <a:off x="3582527" y="4557713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2DBC46-6E71-7315-0BB7-EBC3A94B1BE6}"/>
              </a:ext>
            </a:extLst>
          </p:cNvPr>
          <p:cNvSpPr/>
          <p:nvPr/>
        </p:nvSpPr>
        <p:spPr>
          <a:xfrm>
            <a:off x="3427354" y="4909619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6A35964-094C-3F51-4A61-D95771851E4D}"/>
              </a:ext>
            </a:extLst>
          </p:cNvPr>
          <p:cNvSpPr/>
          <p:nvPr/>
        </p:nvSpPr>
        <p:spPr>
          <a:xfrm>
            <a:off x="3427354" y="5261525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9720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213" y="1005549"/>
            <a:ext cx="8772540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2CC016-5D24-70D6-516F-DEECC2D1282D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06DF2-39D6-93BF-B91E-D6A3FA8B2B2F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24992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201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The Python Logo | Python Software Foundation">
            <a:extLst>
              <a:ext uri="{FF2B5EF4-FFF2-40B4-BE49-F238E27FC236}">
                <a16:creationId xmlns:a16="http://schemas.microsoft.com/office/drawing/2014/main" id="{341037DE-3D88-07DD-4DD2-488FE17DD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77023"/>
            <a:ext cx="5545720" cy="1873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165FB832-07BE-B0A4-0650-0E5E6AF28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897" y="3130906"/>
            <a:ext cx="3706542" cy="287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A67439-2623-7598-56C6-B8B143630F57}"/>
              </a:ext>
            </a:extLst>
          </p:cNvPr>
          <p:cNvSpPr txBox="1"/>
          <p:nvPr/>
        </p:nvSpPr>
        <p:spPr>
          <a:xfrm>
            <a:off x="5545720" y="2934704"/>
            <a:ext cx="8496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/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21945889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316DA3-91EA-82F5-8C20-87A946ED1B77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</p:spTree>
    <p:extLst>
      <p:ext uri="{BB962C8B-B14F-4D97-AF65-F5344CB8AC3E}">
        <p14:creationId xmlns:p14="http://schemas.microsoft.com/office/powerpoint/2010/main" val="36002814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6171E0-CF1E-27ED-0CAC-0EE556555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7588" y="719528"/>
            <a:ext cx="6474753" cy="590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6547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0396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6653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89052" y="62863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528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37864" y="634568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087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‘blue’)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pic>
        <p:nvPicPr>
          <p:cNvPr id="9" name="Picture 8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BBEE64D-CDC6-F782-5AB0-DD1DC01E8F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24" t="1" r="35274" b="-12316"/>
          <a:stretch/>
        </p:blipFill>
        <p:spPr>
          <a:xfrm>
            <a:off x="856335" y="864852"/>
            <a:ext cx="2946946" cy="2242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7958A1-42A2-1136-0D7B-5C9F2EF46E86}"/>
              </a:ext>
            </a:extLst>
          </p:cNvPr>
          <p:cNvSpPr txBox="1"/>
          <p:nvPr/>
        </p:nvSpPr>
        <p:spPr>
          <a:xfrm>
            <a:off x="3580694" y="1018077"/>
            <a:ext cx="10744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Andale Mono" panose="020B0509000000000004" pitchFamily="49" charset="0"/>
              </a:rPr>
              <a:t>colour</a:t>
            </a:r>
            <a:endParaRPr lang="en-US" sz="1600" dirty="0">
              <a:latin typeface="Andale Mono" panose="020B0509000000000004" pitchFamily="49" charset="0"/>
            </a:endParaRP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F343ACF-7A9B-2BEC-3DF2-752180AC6A55}"/>
              </a:ext>
            </a:extLst>
          </p:cNvPr>
          <p:cNvSpPr/>
          <p:nvPr/>
        </p:nvSpPr>
        <p:spPr>
          <a:xfrm>
            <a:off x="3803282" y="1018078"/>
            <a:ext cx="951338" cy="184665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0926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2B4B5B-02B0-951F-51BC-F914190DECE3}"/>
              </a:ext>
            </a:extLst>
          </p:cNvPr>
          <p:cNvSpPr txBox="1"/>
          <p:nvPr/>
        </p:nvSpPr>
        <p:spPr>
          <a:xfrm>
            <a:off x="1064712" y="2918564"/>
            <a:ext cx="4158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an also set conditional formatting. </a:t>
            </a:r>
          </a:p>
          <a:p>
            <a:endParaRPr lang="en-US" dirty="0"/>
          </a:p>
          <a:p>
            <a:r>
              <a:rPr lang="en-US" dirty="0"/>
              <a:t>e.g. Use different colors for points where happiness is &gt; 5</a:t>
            </a:r>
          </a:p>
        </p:txBody>
      </p:sp>
    </p:spTree>
    <p:extLst>
      <p:ext uri="{BB962C8B-B14F-4D97-AF65-F5344CB8AC3E}">
        <p14:creationId xmlns:p14="http://schemas.microsoft.com/office/powerpoint/2010/main" val="3766949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33659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happiness &gt; 5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5FD29-C4BC-B23E-FC61-A01A49604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5941" y="659597"/>
            <a:ext cx="5780675" cy="553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225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62266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pic>
        <p:nvPicPr>
          <p:cNvPr id="6" name="Picture 5" descr="A diagram of a mathematical equation&#10;&#10;Description automatically generated with medium confidence">
            <a:extLst>
              <a:ext uri="{FF2B5EF4-FFF2-40B4-BE49-F238E27FC236}">
                <a16:creationId xmlns:a16="http://schemas.microsoft.com/office/drawing/2014/main" id="{1CD69B61-59DE-FEA1-1285-0CFA7CA809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71" t="40580" r="8321" b="6779"/>
          <a:stretch/>
        </p:blipFill>
        <p:spPr>
          <a:xfrm>
            <a:off x="142089" y="2806074"/>
            <a:ext cx="7898802" cy="23450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129D9-E787-8888-55D1-444B64B99C3E}"/>
              </a:ext>
            </a:extLst>
          </p:cNvPr>
          <p:cNvSpPr txBox="1"/>
          <p:nvPr/>
        </p:nvSpPr>
        <p:spPr>
          <a:xfrm>
            <a:off x="413360" y="601249"/>
            <a:ext cx="643837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6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ython Visualization Landscape">
            <a:extLst>
              <a:ext uri="{FF2B5EF4-FFF2-40B4-BE49-F238E27FC236}">
                <a16:creationId xmlns:a16="http://schemas.microsoft.com/office/drawing/2014/main" id="{9266965D-89BE-0688-86BB-3AAE45BB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3" y="1189972"/>
            <a:ext cx="5356001" cy="391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659910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35AA8-7215-19F8-690B-413F1F147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91354B-536D-DD97-83A0-2C7AC64DB44F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CD0EEAD0-3F0D-D681-AD3B-261859EC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15385D-2C92-9DF7-28BA-0D67FB3A0973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985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45195" y="5040518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3929D0B4-7CA5-77B5-5CAB-7891394D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E29EAD-7BE7-325C-A367-1D97197F5934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867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5D8DC-12C1-64B2-BFA0-F7FE6E849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1CC949-4FCE-CAFE-72AD-9EA78BF0B846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4F6151-EE0F-12C5-6CDB-C56B5E387C5B}"/>
              </a:ext>
            </a:extLst>
          </p:cNvPr>
          <p:cNvSpPr txBox="1"/>
          <p:nvPr/>
        </p:nvSpPr>
        <p:spPr>
          <a:xfrm>
            <a:off x="413360" y="2758587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4CE44-C350-74BA-46E1-03E72317B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883" y="978077"/>
            <a:ext cx="6444893" cy="527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795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D161B8B-CDF1-C18C-8E66-4C276175F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4750" y="1383324"/>
            <a:ext cx="6072862" cy="46897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D77026-0659-CB1A-3BAC-B1FA2F00951B}"/>
              </a:ext>
            </a:extLst>
          </p:cNvPr>
          <p:cNvSpPr txBox="1"/>
          <p:nvPr/>
        </p:nvSpPr>
        <p:spPr>
          <a:xfrm>
            <a:off x="990599" y="1723148"/>
            <a:ext cx="6096000" cy="1705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  filter(year=2019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3" name="Picture 2" descr="A table of numbers with text&#10;&#10;Description automatically generated with medium confidence">
            <a:extLst>
              <a:ext uri="{FF2B5EF4-FFF2-40B4-BE49-F238E27FC236}">
                <a16:creationId xmlns:a16="http://schemas.microsoft.com/office/drawing/2014/main" id="{4B1E93B8-7760-8780-EC1F-06410ECF5E8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02" r="59033"/>
          <a:stretch/>
        </p:blipFill>
        <p:spPr>
          <a:xfrm>
            <a:off x="0" y="4063887"/>
            <a:ext cx="5100320" cy="253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5285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D161B8B-CDF1-C18C-8E66-4C276175F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4750" y="1383324"/>
            <a:ext cx="6072862" cy="46897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D77026-0659-CB1A-3BAC-B1FA2F00951B}"/>
              </a:ext>
            </a:extLst>
          </p:cNvPr>
          <p:cNvSpPr txBox="1"/>
          <p:nvPr/>
        </p:nvSpPr>
        <p:spPr>
          <a:xfrm>
            <a:off x="990599" y="1723148"/>
            <a:ext cx="6096000" cy="1705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=2019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fill=visited</a:t>
            </a:r>
            <a:r>
              <a:rPr lang="en-US" dirty="0">
                <a:latin typeface="Monaco" pitchFamily="2" charset="77"/>
              </a:rPr>
              <a:t>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E293A7-519B-F925-41A9-F05DD0604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4750" y="1383323"/>
            <a:ext cx="6072862" cy="468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07367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59" y="601249"/>
            <a:ext cx="5887233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0677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371298" y="2356805"/>
            <a:ext cx="5993704" cy="872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ntinent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boxplo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1700BC-7B0F-0F46-9AEF-75F8E68805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002" y="886999"/>
            <a:ext cx="5770071" cy="536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71811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72D7F1-7F87-5665-D226-E95DF94B5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8482" y="1300409"/>
            <a:ext cx="5383488" cy="45116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33605" y="2394383"/>
            <a:ext cx="5121721" cy="872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histogram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90912027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59" y="601249"/>
            <a:ext cx="5962389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effectLst/>
                <a:latin typeface="SourceSansPro"/>
              </a:rPr>
              <a:t>(calls a default </a:t>
            </a:r>
            <a:r>
              <a:rPr lang="en-US" sz="2400" dirty="0" err="1">
                <a:effectLst/>
                <a:latin typeface="SourceSansPro"/>
              </a:rPr>
              <a:t>geom</a:t>
            </a:r>
            <a:r>
              <a:rPr lang="en-US" sz="2400" dirty="0"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effectLst/>
              <a:latin typeface="SourceSansPro"/>
            </a:endParaRPr>
          </a:p>
          <a:p>
            <a:r>
              <a:rPr lang="en-US" sz="2400" b="1" dirty="0">
                <a:effectLst/>
                <a:latin typeface="SourceSansPro"/>
              </a:rPr>
              <a:t>	</a:t>
            </a:r>
            <a:endParaRPr lang="en-US" sz="2400" dirty="0">
              <a:effectLst/>
            </a:endParaRP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812F21-8619-E905-5CC7-67F20448D97B}"/>
              </a:ext>
            </a:extLst>
          </p:cNvPr>
          <p:cNvSpPr txBox="1"/>
          <p:nvPr/>
        </p:nvSpPr>
        <p:spPr>
          <a:xfrm>
            <a:off x="896261" y="4745664"/>
            <a:ext cx="5199739" cy="17039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latin typeface="Andale Mono" panose="020B0509000000000004" pitchFamily="49" charset="0"/>
              </a:rPr>
              <a:t>stat_smooth</a:t>
            </a:r>
            <a:r>
              <a:rPr lang="en-US" dirty="0">
                <a:latin typeface="Andale Mono" panose="020B0509000000000004" pitchFamily="49" charset="0"/>
              </a:rPr>
              <a:t>(method = "</a:t>
            </a:r>
            <a:r>
              <a:rPr lang="en-US" dirty="0" err="1">
                <a:latin typeface="Andale Mono" panose="020B0509000000000004" pitchFamily="49" charset="0"/>
              </a:rPr>
              <a:t>lm</a:t>
            </a:r>
            <a:r>
              <a:rPr lang="en-US" dirty="0">
                <a:latin typeface="Andale Mono" panose="020B0509000000000004" pitchFamily="49" charset="0"/>
              </a:rPr>
              <a:t>",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	formula = y ~ x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157479-7BF1-606B-2090-112A6EC25D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8902" y="1237727"/>
            <a:ext cx="5242610" cy="504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4459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63F8354-7468-4875-6BEA-BFD0108BB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3223" y="749030"/>
            <a:ext cx="5695842" cy="57042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3B14C42-DBE6-82F5-4BBB-F2DE1AEC5898}"/>
              </a:ext>
            </a:extLst>
          </p:cNvPr>
          <p:cNvSpPr txBox="1"/>
          <p:nvPr/>
        </p:nvSpPr>
        <p:spPr>
          <a:xfrm>
            <a:off x="524655" y="1085909"/>
            <a:ext cx="6265889" cy="12903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geom_smooth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14E97A-DDEB-D54C-0B33-CE08C381355B}"/>
              </a:ext>
            </a:extLst>
          </p:cNvPr>
          <p:cNvSpPr txBox="1"/>
          <p:nvPr/>
        </p:nvSpPr>
        <p:spPr>
          <a:xfrm>
            <a:off x="524655" y="3124426"/>
            <a:ext cx="6265889" cy="12903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 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stat_smooth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) </a:t>
            </a:r>
          </a:p>
        </p:txBody>
      </p:sp>
    </p:spTree>
    <p:extLst>
      <p:ext uri="{BB962C8B-B14F-4D97-AF65-F5344CB8AC3E}">
        <p14:creationId xmlns:p14="http://schemas.microsoft.com/office/powerpoint/2010/main" val="2233145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ython Visualization Landscape">
            <a:extLst>
              <a:ext uri="{FF2B5EF4-FFF2-40B4-BE49-F238E27FC236}">
                <a16:creationId xmlns:a16="http://schemas.microsoft.com/office/drawing/2014/main" id="{9266965D-89BE-0688-86BB-3AAE45BB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3" y="1189972"/>
            <a:ext cx="5356001" cy="391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r-base - Official Image | Docker Hub">
            <a:extLst>
              <a:ext uri="{FF2B5EF4-FFF2-40B4-BE49-F238E27FC236}">
                <a16:creationId xmlns:a16="http://schemas.microsoft.com/office/drawing/2014/main" id="{4318EE30-0195-1CE0-6FF0-6FD189946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184" y="2503867"/>
            <a:ext cx="983767" cy="762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Hexagon 11">
            <a:extLst>
              <a:ext uri="{FF2B5EF4-FFF2-40B4-BE49-F238E27FC236}">
                <a16:creationId xmlns:a16="http://schemas.microsoft.com/office/drawing/2014/main" id="{7BF13AFB-0583-ADDA-7C17-6064FE013A94}"/>
              </a:ext>
            </a:extLst>
          </p:cNvPr>
          <p:cNvSpPr/>
          <p:nvPr/>
        </p:nvSpPr>
        <p:spPr>
          <a:xfrm rot="5400000">
            <a:off x="10019261" y="988701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290FE9A4-83F8-D3E4-0316-12A6489666DB}"/>
              </a:ext>
            </a:extLst>
          </p:cNvPr>
          <p:cNvSpPr/>
          <p:nvPr/>
        </p:nvSpPr>
        <p:spPr>
          <a:xfrm rot="5400000">
            <a:off x="8245484" y="1174979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EAB67811-5AE7-1CC3-4E3E-5D964D93FF3A}"/>
              </a:ext>
            </a:extLst>
          </p:cNvPr>
          <p:cNvSpPr/>
          <p:nvPr/>
        </p:nvSpPr>
        <p:spPr>
          <a:xfrm rot="5400000">
            <a:off x="9214921" y="421619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D407BA9F-DEFC-40E0-B423-169020DBB3BD}"/>
              </a:ext>
            </a:extLst>
          </p:cNvPr>
          <p:cNvSpPr/>
          <p:nvPr/>
        </p:nvSpPr>
        <p:spPr>
          <a:xfrm rot="5400000">
            <a:off x="9970680" y="360713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F63A4A16-7EEF-7CEA-5376-6BC3265DF84F}"/>
              </a:ext>
            </a:extLst>
          </p:cNvPr>
          <p:cNvSpPr/>
          <p:nvPr/>
        </p:nvSpPr>
        <p:spPr>
          <a:xfrm rot="5400000">
            <a:off x="9122752" y="113976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Hexagon 16">
            <a:extLst>
              <a:ext uri="{FF2B5EF4-FFF2-40B4-BE49-F238E27FC236}">
                <a16:creationId xmlns:a16="http://schemas.microsoft.com/office/drawing/2014/main" id="{20415C9C-11C7-A4F4-68FA-411347C5B2F5}"/>
              </a:ext>
            </a:extLst>
          </p:cNvPr>
          <p:cNvSpPr/>
          <p:nvPr/>
        </p:nvSpPr>
        <p:spPr>
          <a:xfrm rot="5400000">
            <a:off x="9843038" y="183110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810244E6-23D8-7F44-84C9-966975AA44C1}"/>
              </a:ext>
            </a:extLst>
          </p:cNvPr>
          <p:cNvSpPr/>
          <p:nvPr/>
        </p:nvSpPr>
        <p:spPr>
          <a:xfrm rot="5400000">
            <a:off x="7478265" y="365448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3BB2A2EF-829B-EE25-31E5-38E05A9F3BCD}"/>
              </a:ext>
            </a:extLst>
          </p:cNvPr>
          <p:cNvSpPr/>
          <p:nvPr/>
        </p:nvSpPr>
        <p:spPr>
          <a:xfrm rot="5400000">
            <a:off x="8207784" y="419252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12E6876A-B961-287F-A151-C6D51155C061}"/>
              </a:ext>
            </a:extLst>
          </p:cNvPr>
          <p:cNvSpPr/>
          <p:nvPr/>
        </p:nvSpPr>
        <p:spPr>
          <a:xfrm rot="5400000">
            <a:off x="7422880" y="161619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Hexagon 21">
            <a:extLst>
              <a:ext uri="{FF2B5EF4-FFF2-40B4-BE49-F238E27FC236}">
                <a16:creationId xmlns:a16="http://schemas.microsoft.com/office/drawing/2014/main" id="{1980C16B-FADE-F4E2-EC12-F73BEF58D296}"/>
              </a:ext>
            </a:extLst>
          </p:cNvPr>
          <p:cNvSpPr/>
          <p:nvPr/>
        </p:nvSpPr>
        <p:spPr>
          <a:xfrm rot="5400000">
            <a:off x="7605579" y="874199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34A6F683-8241-3432-416B-29FB8060FD4C}"/>
              </a:ext>
            </a:extLst>
          </p:cNvPr>
          <p:cNvSpPr/>
          <p:nvPr/>
        </p:nvSpPr>
        <p:spPr>
          <a:xfrm rot="5400000">
            <a:off x="8720210" y="491273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FB29569-FF2D-B137-F8F8-464BDC1861AC}"/>
              </a:ext>
            </a:extLst>
          </p:cNvPr>
          <p:cNvSpPr/>
          <p:nvPr/>
        </p:nvSpPr>
        <p:spPr>
          <a:xfrm rot="5400000">
            <a:off x="10152340" y="444837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E3BCC639-84A4-838D-0445-0E35FD7E6AAF}"/>
              </a:ext>
            </a:extLst>
          </p:cNvPr>
          <p:cNvSpPr/>
          <p:nvPr/>
        </p:nvSpPr>
        <p:spPr>
          <a:xfrm rot="5400000">
            <a:off x="8677387" y="50142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77994092-FE6B-81A0-F207-5C1604655920}"/>
              </a:ext>
            </a:extLst>
          </p:cNvPr>
          <p:cNvSpPr/>
          <p:nvPr/>
        </p:nvSpPr>
        <p:spPr>
          <a:xfrm rot="5400000">
            <a:off x="7434882" y="467090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79C0D372-056A-E66B-060A-A20C3B30DA20}"/>
              </a:ext>
            </a:extLst>
          </p:cNvPr>
          <p:cNvSpPr/>
          <p:nvPr/>
        </p:nvSpPr>
        <p:spPr>
          <a:xfrm>
            <a:off x="2207898" y="1184444"/>
            <a:ext cx="6105743" cy="1644626"/>
          </a:xfrm>
          <a:custGeom>
            <a:avLst/>
            <a:gdLst>
              <a:gd name="connsiteX0" fmla="*/ 6080166 w 6080166"/>
              <a:gd name="connsiteY0" fmla="*/ 1702084 h 1702084"/>
              <a:gd name="connsiteX1" fmla="*/ 2030680 w 6080166"/>
              <a:gd name="connsiteY1" fmla="*/ 15788 h 1702084"/>
              <a:gd name="connsiteX2" fmla="*/ 0 w 6080166"/>
              <a:gd name="connsiteY2" fmla="*/ 1001440 h 1702084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92955 w 6092955"/>
              <a:gd name="connsiteY0" fmla="*/ 1711527 h 1711527"/>
              <a:gd name="connsiteX1" fmla="*/ 3040083 w 6092955"/>
              <a:gd name="connsiteY1" fmla="*/ 22491 h 1711527"/>
              <a:gd name="connsiteX2" fmla="*/ 0 w 6092955"/>
              <a:gd name="connsiteY2" fmla="*/ 806262 h 1711527"/>
              <a:gd name="connsiteX0" fmla="*/ 6105743 w 6105743"/>
              <a:gd name="connsiteY0" fmla="*/ 1709618 h 1709618"/>
              <a:gd name="connsiteX1" fmla="*/ 3052871 w 6105743"/>
              <a:gd name="connsiteY1" fmla="*/ 20582 h 1709618"/>
              <a:gd name="connsiteX2" fmla="*/ 0 w 6105743"/>
              <a:gd name="connsiteY2" fmla="*/ 849114 h 1709618"/>
              <a:gd name="connsiteX0" fmla="*/ 6105743 w 6105743"/>
              <a:gd name="connsiteY0" fmla="*/ 1706511 h 1706511"/>
              <a:gd name="connsiteX1" fmla="*/ 3052871 w 6105743"/>
              <a:gd name="connsiteY1" fmla="*/ 17475 h 1706511"/>
              <a:gd name="connsiteX2" fmla="*/ 0 w 6105743"/>
              <a:gd name="connsiteY2" fmla="*/ 846007 h 1706511"/>
              <a:gd name="connsiteX0" fmla="*/ 6105743 w 6105743"/>
              <a:gd name="connsiteY0" fmla="*/ 1644626 h 1644626"/>
              <a:gd name="connsiteX1" fmla="*/ 3199942 w 6105743"/>
              <a:gd name="connsiteY1" fmla="*/ 19534 h 1644626"/>
              <a:gd name="connsiteX2" fmla="*/ 0 w 6105743"/>
              <a:gd name="connsiteY2" fmla="*/ 784122 h 1644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05743" h="1644626">
                <a:moveTo>
                  <a:pt x="6105743" y="1644626"/>
                </a:moveTo>
                <a:cubicBezTo>
                  <a:pt x="4721962" y="610483"/>
                  <a:pt x="4213303" y="136308"/>
                  <a:pt x="3199942" y="19534"/>
                </a:cubicBezTo>
                <a:cubicBezTo>
                  <a:pt x="2186581" y="-97240"/>
                  <a:pt x="598180" y="328825"/>
                  <a:pt x="0" y="784122"/>
                </a:cubicBezTo>
              </a:path>
            </a:pathLst>
          </a:custGeom>
          <a:ln w="57150" cap="rnd">
            <a:solidFill>
              <a:srgbClr val="37B6C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4A457429-F2C5-3A24-14C9-87A9FA3CFAB2}"/>
              </a:ext>
            </a:extLst>
          </p:cNvPr>
          <p:cNvSpPr/>
          <p:nvPr/>
        </p:nvSpPr>
        <p:spPr>
          <a:xfrm>
            <a:off x="4258674" y="3229175"/>
            <a:ext cx="4047659" cy="844061"/>
          </a:xfrm>
          <a:custGeom>
            <a:avLst/>
            <a:gdLst>
              <a:gd name="connsiteX0" fmla="*/ 4047659 w 4047659"/>
              <a:gd name="connsiteY0" fmla="*/ 0 h 844061"/>
              <a:gd name="connsiteX1" fmla="*/ 2417085 w 4047659"/>
              <a:gd name="connsiteY1" fmla="*/ 159860 h 844061"/>
              <a:gd name="connsiteX2" fmla="*/ 19183 w 4047659"/>
              <a:gd name="connsiteY2" fmla="*/ 837667 h 844061"/>
              <a:gd name="connsiteX3" fmla="*/ 19183 w 4047659"/>
              <a:gd name="connsiteY3" fmla="*/ 837667 h 844061"/>
              <a:gd name="connsiteX4" fmla="*/ 0 w 4047659"/>
              <a:gd name="connsiteY4" fmla="*/ 844061 h 844061"/>
              <a:gd name="connsiteX0" fmla="*/ 4047659 w 4047659"/>
              <a:gd name="connsiteY0" fmla="*/ 0 h 844061"/>
              <a:gd name="connsiteX1" fmla="*/ 1835194 w 4047659"/>
              <a:gd name="connsiteY1" fmla="*/ 287748 h 844061"/>
              <a:gd name="connsiteX2" fmla="*/ 19183 w 4047659"/>
              <a:gd name="connsiteY2" fmla="*/ 837667 h 844061"/>
              <a:gd name="connsiteX3" fmla="*/ 19183 w 4047659"/>
              <a:gd name="connsiteY3" fmla="*/ 837667 h 844061"/>
              <a:gd name="connsiteX4" fmla="*/ 0 w 4047659"/>
              <a:gd name="connsiteY4" fmla="*/ 844061 h 84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7659" h="844061">
                <a:moveTo>
                  <a:pt x="4047659" y="0"/>
                </a:moveTo>
                <a:cubicBezTo>
                  <a:pt x="3568078" y="10124"/>
                  <a:pt x="2506607" y="148137"/>
                  <a:pt x="1835194" y="287748"/>
                </a:cubicBezTo>
                <a:cubicBezTo>
                  <a:pt x="1163781" y="427359"/>
                  <a:pt x="19183" y="837667"/>
                  <a:pt x="19183" y="837667"/>
                </a:cubicBezTo>
                <a:lnTo>
                  <a:pt x="19183" y="837667"/>
                </a:lnTo>
                <a:lnTo>
                  <a:pt x="0" y="844061"/>
                </a:lnTo>
              </a:path>
            </a:pathLst>
          </a:custGeom>
          <a:noFill/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9FB4B4C-A118-9DD3-FF8D-5DC8B7BD89FC}"/>
              </a:ext>
            </a:extLst>
          </p:cNvPr>
          <p:cNvCxnSpPr>
            <a:cxnSpLocks/>
            <a:stCxn id="21" idx="5"/>
          </p:cNvCxnSpPr>
          <p:nvPr/>
        </p:nvCxnSpPr>
        <p:spPr>
          <a:xfrm>
            <a:off x="7856329" y="1949011"/>
            <a:ext cx="547932" cy="55485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CDB048D-17A6-089E-05FB-8D577F6F6F0D}"/>
              </a:ext>
            </a:extLst>
          </p:cNvPr>
          <p:cNvCxnSpPr>
            <a:cxnSpLocks/>
            <a:stCxn id="22" idx="0"/>
          </p:cNvCxnSpPr>
          <p:nvPr/>
        </p:nvCxnSpPr>
        <p:spPr>
          <a:xfrm>
            <a:off x="7837757" y="1307648"/>
            <a:ext cx="750175" cy="108139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5DCE5F0-5532-1B5B-E0A0-170D2CD461F3}"/>
              </a:ext>
            </a:extLst>
          </p:cNvPr>
          <p:cNvCxnSpPr>
            <a:cxnSpLocks/>
            <a:stCxn id="13" idx="0"/>
          </p:cNvCxnSpPr>
          <p:nvPr/>
        </p:nvCxnSpPr>
        <p:spPr>
          <a:xfrm>
            <a:off x="8477662" y="1608428"/>
            <a:ext cx="291276" cy="65612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BD52391-BF30-78F1-12C9-B16D8C5434EA}"/>
              </a:ext>
            </a:extLst>
          </p:cNvPr>
          <p:cNvCxnSpPr>
            <a:cxnSpLocks/>
            <a:stCxn id="25" idx="0"/>
            <a:endCxn id="11" idx="0"/>
          </p:cNvCxnSpPr>
          <p:nvPr/>
        </p:nvCxnSpPr>
        <p:spPr>
          <a:xfrm>
            <a:off x="8909565" y="934869"/>
            <a:ext cx="6731" cy="121159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A4A5F9A-7920-0CB8-84FF-1D2DD98D2EB3}"/>
              </a:ext>
            </a:extLst>
          </p:cNvPr>
          <p:cNvCxnSpPr>
            <a:cxnSpLocks/>
            <a:stCxn id="16" idx="0"/>
          </p:cNvCxnSpPr>
          <p:nvPr/>
        </p:nvCxnSpPr>
        <p:spPr>
          <a:xfrm flipH="1">
            <a:off x="9094988" y="1573217"/>
            <a:ext cx="259942" cy="691334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53EFDCF-FE51-7076-2508-575E775206BC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9274798" y="1321515"/>
            <a:ext cx="775370" cy="106752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A72DE85-2D9A-FD20-8227-F6F6D42AF10E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9533622" y="2163916"/>
            <a:ext cx="340323" cy="35233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4" name="Straight Connector 11263">
            <a:extLst>
              <a:ext uri="{FF2B5EF4-FFF2-40B4-BE49-F238E27FC236}">
                <a16:creationId xmlns:a16="http://schemas.microsoft.com/office/drawing/2014/main" id="{41A2515B-F8B2-C00B-9F5B-9ECC134F01EA}"/>
              </a:ext>
            </a:extLst>
          </p:cNvPr>
          <p:cNvCxnSpPr>
            <a:cxnSpLocks/>
            <a:stCxn id="11268" idx="1"/>
            <a:endCxn id="11" idx="3"/>
          </p:cNvCxnSpPr>
          <p:nvPr/>
        </p:nvCxnSpPr>
        <p:spPr>
          <a:xfrm flipH="1">
            <a:off x="9556201" y="2885022"/>
            <a:ext cx="745983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9" name="Straight Connector 11268">
            <a:extLst>
              <a:ext uri="{FF2B5EF4-FFF2-40B4-BE49-F238E27FC236}">
                <a16:creationId xmlns:a16="http://schemas.microsoft.com/office/drawing/2014/main" id="{8F179191-199C-C301-C37D-084A6D84DD33}"/>
              </a:ext>
            </a:extLst>
          </p:cNvPr>
          <p:cNvCxnSpPr>
            <a:cxnSpLocks/>
            <a:stCxn id="15" idx="2"/>
          </p:cNvCxnSpPr>
          <p:nvPr/>
        </p:nvCxnSpPr>
        <p:spPr>
          <a:xfrm flipH="1" flipV="1">
            <a:off x="9492380" y="3229175"/>
            <a:ext cx="509207" cy="44768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2" name="Straight Connector 11271">
            <a:extLst>
              <a:ext uri="{FF2B5EF4-FFF2-40B4-BE49-F238E27FC236}">
                <a16:creationId xmlns:a16="http://schemas.microsoft.com/office/drawing/2014/main" id="{8899FBB3-1B5A-320B-C289-6F06718E788A}"/>
              </a:ext>
            </a:extLst>
          </p:cNvPr>
          <p:cNvCxnSpPr>
            <a:cxnSpLocks/>
            <a:stCxn id="24" idx="2"/>
          </p:cNvCxnSpPr>
          <p:nvPr/>
        </p:nvCxnSpPr>
        <p:spPr>
          <a:xfrm flipH="1" flipV="1">
            <a:off x="9310929" y="3393451"/>
            <a:ext cx="872318" cy="112465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4" name="Straight Connector 11273">
            <a:extLst>
              <a:ext uri="{FF2B5EF4-FFF2-40B4-BE49-F238E27FC236}">
                <a16:creationId xmlns:a16="http://schemas.microsoft.com/office/drawing/2014/main" id="{5B0D4BC6-BF70-7D3D-6189-A3D6A5EA4CF9}"/>
              </a:ext>
            </a:extLst>
          </p:cNvPr>
          <p:cNvCxnSpPr>
            <a:cxnSpLocks/>
            <a:stCxn id="14" idx="3"/>
          </p:cNvCxnSpPr>
          <p:nvPr/>
        </p:nvCxnSpPr>
        <p:spPr>
          <a:xfrm flipH="1" flipV="1">
            <a:off x="9061295" y="3488397"/>
            <a:ext cx="385804" cy="69689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7" name="Straight Connector 11276">
            <a:extLst>
              <a:ext uri="{FF2B5EF4-FFF2-40B4-BE49-F238E27FC236}">
                <a16:creationId xmlns:a16="http://schemas.microsoft.com/office/drawing/2014/main" id="{3A5E1F38-760C-31D1-F743-44C8D4B6D099}"/>
              </a:ext>
            </a:extLst>
          </p:cNvPr>
          <p:cNvCxnSpPr>
            <a:cxnSpLocks/>
            <a:stCxn id="23" idx="3"/>
            <a:endCxn id="11" idx="2"/>
          </p:cNvCxnSpPr>
          <p:nvPr/>
        </p:nvCxnSpPr>
        <p:spPr>
          <a:xfrm flipH="1" flipV="1">
            <a:off x="8916296" y="3623579"/>
            <a:ext cx="36092" cy="125824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0" name="Straight Connector 11279">
            <a:extLst>
              <a:ext uri="{FF2B5EF4-FFF2-40B4-BE49-F238E27FC236}">
                <a16:creationId xmlns:a16="http://schemas.microsoft.com/office/drawing/2014/main" id="{006FF4D3-2C8B-A22B-9274-CC2DA46971BD}"/>
              </a:ext>
            </a:extLst>
          </p:cNvPr>
          <p:cNvCxnSpPr>
            <a:cxnSpLocks/>
            <a:stCxn id="19" idx="3"/>
          </p:cNvCxnSpPr>
          <p:nvPr/>
        </p:nvCxnSpPr>
        <p:spPr>
          <a:xfrm flipV="1">
            <a:off x="8439962" y="3488396"/>
            <a:ext cx="335849" cy="673221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3" name="Straight Connector 11282">
            <a:extLst>
              <a:ext uri="{FF2B5EF4-FFF2-40B4-BE49-F238E27FC236}">
                <a16:creationId xmlns:a16="http://schemas.microsoft.com/office/drawing/2014/main" id="{38AD2F3B-F3DE-2581-F128-3F9866A7D585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7667060" y="3369604"/>
            <a:ext cx="882921" cy="127039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6" name="Straight Connector 11285">
            <a:extLst>
              <a:ext uri="{FF2B5EF4-FFF2-40B4-BE49-F238E27FC236}">
                <a16:creationId xmlns:a16="http://schemas.microsoft.com/office/drawing/2014/main" id="{ED37A0B8-6DBD-E9AA-30F7-C536EF035B37}"/>
              </a:ext>
            </a:extLst>
          </p:cNvPr>
          <p:cNvCxnSpPr>
            <a:cxnSpLocks/>
            <a:stCxn id="18" idx="4"/>
          </p:cNvCxnSpPr>
          <p:nvPr/>
        </p:nvCxnSpPr>
        <p:spPr>
          <a:xfrm flipV="1">
            <a:off x="7911714" y="3269236"/>
            <a:ext cx="452464" cy="45498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>
            <a:extLst>
              <a:ext uri="{FF2B5EF4-FFF2-40B4-BE49-F238E27FC236}">
                <a16:creationId xmlns:a16="http://schemas.microsoft.com/office/drawing/2014/main" id="{005C2879-6E95-4486-9597-8ED27EBCF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391" y="2146465"/>
            <a:ext cx="1279810" cy="14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1297B299-740A-5DA7-346F-6BC4D1981F22}"/>
              </a:ext>
            </a:extLst>
          </p:cNvPr>
          <p:cNvSpPr/>
          <p:nvPr/>
        </p:nvSpPr>
        <p:spPr>
          <a:xfrm>
            <a:off x="6294134" y="3266176"/>
            <a:ext cx="595277" cy="357403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2d3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5541489-5BB5-09B1-56F3-565256833142}"/>
              </a:ext>
            </a:extLst>
          </p:cNvPr>
          <p:cNvSpPr/>
          <p:nvPr/>
        </p:nvSpPr>
        <p:spPr>
          <a:xfrm>
            <a:off x="456823" y="2369929"/>
            <a:ext cx="595277" cy="357403"/>
          </a:xfrm>
          <a:prstGeom prst="ellipse">
            <a:avLst/>
          </a:prstGeom>
          <a:solidFill>
            <a:schemeClr val="bg1"/>
          </a:solidFill>
          <a:ln w="57150">
            <a:solidFill>
              <a:srgbClr val="37B6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</a:rPr>
              <a:t>leafle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DEAAC5A-A55B-4B3F-CC39-6556316074B9}"/>
              </a:ext>
            </a:extLst>
          </p:cNvPr>
          <p:cNvCxnSpPr>
            <a:stCxn id="3" idx="6"/>
          </p:cNvCxnSpPr>
          <p:nvPr/>
        </p:nvCxnSpPr>
        <p:spPr>
          <a:xfrm>
            <a:off x="1052100" y="2548631"/>
            <a:ext cx="713879" cy="61946"/>
          </a:xfrm>
          <a:prstGeom prst="line">
            <a:avLst/>
          </a:prstGeom>
          <a:ln w="38100">
            <a:solidFill>
              <a:srgbClr val="37B6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5">
            <a:extLst>
              <a:ext uri="{FF2B5EF4-FFF2-40B4-BE49-F238E27FC236}">
                <a16:creationId xmlns:a16="http://schemas.microsoft.com/office/drawing/2014/main" id="{DAE2E2C2-BA70-03FF-2C9A-AA6BC9153AD7}"/>
              </a:ext>
            </a:extLst>
          </p:cNvPr>
          <p:cNvSpPr/>
          <p:nvPr/>
        </p:nvSpPr>
        <p:spPr>
          <a:xfrm>
            <a:off x="732915" y="935464"/>
            <a:ext cx="7530627" cy="1869418"/>
          </a:xfrm>
          <a:custGeom>
            <a:avLst/>
            <a:gdLst>
              <a:gd name="connsiteX0" fmla="*/ 6080166 w 6080166"/>
              <a:gd name="connsiteY0" fmla="*/ 1702084 h 1702084"/>
              <a:gd name="connsiteX1" fmla="*/ 2030680 w 6080166"/>
              <a:gd name="connsiteY1" fmla="*/ 15788 h 1702084"/>
              <a:gd name="connsiteX2" fmla="*/ 0 w 6080166"/>
              <a:gd name="connsiteY2" fmla="*/ 1001440 h 1702084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92955 w 6092955"/>
              <a:gd name="connsiteY0" fmla="*/ 1711527 h 1711527"/>
              <a:gd name="connsiteX1" fmla="*/ 3040083 w 6092955"/>
              <a:gd name="connsiteY1" fmla="*/ 22491 h 1711527"/>
              <a:gd name="connsiteX2" fmla="*/ 0 w 6092955"/>
              <a:gd name="connsiteY2" fmla="*/ 806262 h 1711527"/>
              <a:gd name="connsiteX0" fmla="*/ 6105743 w 6105743"/>
              <a:gd name="connsiteY0" fmla="*/ 1709618 h 1709618"/>
              <a:gd name="connsiteX1" fmla="*/ 3052871 w 6105743"/>
              <a:gd name="connsiteY1" fmla="*/ 20582 h 1709618"/>
              <a:gd name="connsiteX2" fmla="*/ 0 w 6105743"/>
              <a:gd name="connsiteY2" fmla="*/ 849114 h 1709618"/>
              <a:gd name="connsiteX0" fmla="*/ 6105743 w 6105743"/>
              <a:gd name="connsiteY0" fmla="*/ 1706511 h 1706511"/>
              <a:gd name="connsiteX1" fmla="*/ 3052871 w 6105743"/>
              <a:gd name="connsiteY1" fmla="*/ 17475 h 1706511"/>
              <a:gd name="connsiteX2" fmla="*/ 0 w 6105743"/>
              <a:gd name="connsiteY2" fmla="*/ 846007 h 1706511"/>
              <a:gd name="connsiteX0" fmla="*/ 6105743 w 6105743"/>
              <a:gd name="connsiteY0" fmla="*/ 1644626 h 1644626"/>
              <a:gd name="connsiteX1" fmla="*/ 3199942 w 6105743"/>
              <a:gd name="connsiteY1" fmla="*/ 19534 h 1644626"/>
              <a:gd name="connsiteX2" fmla="*/ 0 w 6105743"/>
              <a:gd name="connsiteY2" fmla="*/ 784122 h 1644626"/>
              <a:gd name="connsiteX0" fmla="*/ 6139890 w 6139890"/>
              <a:gd name="connsiteY0" fmla="*/ 1636216 h 1636216"/>
              <a:gd name="connsiteX1" fmla="*/ 3234089 w 6139890"/>
              <a:gd name="connsiteY1" fmla="*/ 11124 h 1636216"/>
              <a:gd name="connsiteX2" fmla="*/ 0 w 6139890"/>
              <a:gd name="connsiteY2" fmla="*/ 1180561 h 1636216"/>
              <a:gd name="connsiteX0" fmla="*/ 6139890 w 6139890"/>
              <a:gd name="connsiteY0" fmla="*/ 1636725 h 1636725"/>
              <a:gd name="connsiteX1" fmla="*/ 3234089 w 6139890"/>
              <a:gd name="connsiteY1" fmla="*/ 11633 h 1636725"/>
              <a:gd name="connsiteX2" fmla="*/ 0 w 6139890"/>
              <a:gd name="connsiteY2" fmla="*/ 1181070 h 1636725"/>
              <a:gd name="connsiteX0" fmla="*/ 6139890 w 6139890"/>
              <a:gd name="connsiteY0" fmla="*/ 1747111 h 1747111"/>
              <a:gd name="connsiteX1" fmla="*/ 3370675 w 6139890"/>
              <a:gd name="connsiteY1" fmla="*/ 10337 h 1747111"/>
              <a:gd name="connsiteX2" fmla="*/ 0 w 6139890"/>
              <a:gd name="connsiteY2" fmla="*/ 1291456 h 1747111"/>
              <a:gd name="connsiteX0" fmla="*/ 6139890 w 6139890"/>
              <a:gd name="connsiteY0" fmla="*/ 1780408 h 1780408"/>
              <a:gd name="connsiteX1" fmla="*/ 3370675 w 6139890"/>
              <a:gd name="connsiteY1" fmla="*/ 43634 h 1780408"/>
              <a:gd name="connsiteX2" fmla="*/ 0 w 6139890"/>
              <a:gd name="connsiteY2" fmla="*/ 1324753 h 1780408"/>
              <a:gd name="connsiteX0" fmla="*/ 6139890 w 6139890"/>
              <a:gd name="connsiteY0" fmla="*/ 1780408 h 1780408"/>
              <a:gd name="connsiteX1" fmla="*/ 3370675 w 6139890"/>
              <a:gd name="connsiteY1" fmla="*/ 43634 h 1780408"/>
              <a:gd name="connsiteX2" fmla="*/ 0 w 6139890"/>
              <a:gd name="connsiteY2" fmla="*/ 1324753 h 1780408"/>
              <a:gd name="connsiteX0" fmla="*/ 6139890 w 6139890"/>
              <a:gd name="connsiteY0" fmla="*/ 1854718 h 1854718"/>
              <a:gd name="connsiteX1" fmla="*/ 3387748 w 6139890"/>
              <a:gd name="connsiteY1" fmla="*/ 41162 h 1854718"/>
              <a:gd name="connsiteX2" fmla="*/ 0 w 6139890"/>
              <a:gd name="connsiteY2" fmla="*/ 1399063 h 1854718"/>
              <a:gd name="connsiteX0" fmla="*/ 6139890 w 6139890"/>
              <a:gd name="connsiteY0" fmla="*/ 1854718 h 1854718"/>
              <a:gd name="connsiteX1" fmla="*/ 3387748 w 6139890"/>
              <a:gd name="connsiteY1" fmla="*/ 41162 h 1854718"/>
              <a:gd name="connsiteX2" fmla="*/ 0 w 6139890"/>
              <a:gd name="connsiteY2" fmla="*/ 1399063 h 1854718"/>
              <a:gd name="connsiteX0" fmla="*/ 6139890 w 6139890"/>
              <a:gd name="connsiteY0" fmla="*/ 1828879 h 1828879"/>
              <a:gd name="connsiteX1" fmla="*/ 3387748 w 6139890"/>
              <a:gd name="connsiteY1" fmla="*/ 15323 h 1828879"/>
              <a:gd name="connsiteX2" fmla="*/ 0 w 6139890"/>
              <a:gd name="connsiteY2" fmla="*/ 1373224 h 1828879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05502 h 1805502"/>
              <a:gd name="connsiteX1" fmla="*/ 3103194 w 6139890"/>
              <a:gd name="connsiteY1" fmla="*/ 5906 h 1805502"/>
              <a:gd name="connsiteX2" fmla="*/ 0 w 6139890"/>
              <a:gd name="connsiteY2" fmla="*/ 1349847 h 1805502"/>
              <a:gd name="connsiteX0" fmla="*/ 6139890 w 6139890"/>
              <a:gd name="connsiteY0" fmla="*/ 1805502 h 1805502"/>
              <a:gd name="connsiteX1" fmla="*/ 3103194 w 6139890"/>
              <a:gd name="connsiteY1" fmla="*/ 5906 h 1805502"/>
              <a:gd name="connsiteX2" fmla="*/ 0 w 6139890"/>
              <a:gd name="connsiteY2" fmla="*/ 1349847 h 1805502"/>
              <a:gd name="connsiteX0" fmla="*/ 6139890 w 6139890"/>
              <a:gd name="connsiteY0" fmla="*/ 1874920 h 1874920"/>
              <a:gd name="connsiteX1" fmla="*/ 3103194 w 6139890"/>
              <a:gd name="connsiteY1" fmla="*/ 5523 h 1874920"/>
              <a:gd name="connsiteX2" fmla="*/ 0 w 6139890"/>
              <a:gd name="connsiteY2" fmla="*/ 1419265 h 1874920"/>
              <a:gd name="connsiteX0" fmla="*/ 6139890 w 6139890"/>
              <a:gd name="connsiteY0" fmla="*/ 1874920 h 1874920"/>
              <a:gd name="connsiteX1" fmla="*/ 3103194 w 6139890"/>
              <a:gd name="connsiteY1" fmla="*/ 5523 h 1874920"/>
              <a:gd name="connsiteX2" fmla="*/ 0 w 6139890"/>
              <a:gd name="connsiteY2" fmla="*/ 1419265 h 1874920"/>
              <a:gd name="connsiteX0" fmla="*/ 6139890 w 6139890"/>
              <a:gd name="connsiteY0" fmla="*/ 1869419 h 1869419"/>
              <a:gd name="connsiteX1" fmla="*/ 3103194 w 6139890"/>
              <a:gd name="connsiteY1" fmla="*/ 22 h 1869419"/>
              <a:gd name="connsiteX2" fmla="*/ 0 w 6139890"/>
              <a:gd name="connsiteY2" fmla="*/ 1413764 h 1869419"/>
              <a:gd name="connsiteX0" fmla="*/ 6139890 w 6139890"/>
              <a:gd name="connsiteY0" fmla="*/ 1869418 h 1869418"/>
              <a:gd name="connsiteX1" fmla="*/ 3103194 w 6139890"/>
              <a:gd name="connsiteY1" fmla="*/ 21 h 1869418"/>
              <a:gd name="connsiteX2" fmla="*/ 0 w 6139890"/>
              <a:gd name="connsiteY2" fmla="*/ 1413763 h 1869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39890" h="1869418">
                <a:moveTo>
                  <a:pt x="6139890" y="1869418"/>
                </a:moveTo>
                <a:cubicBezTo>
                  <a:pt x="5000826" y="486268"/>
                  <a:pt x="4150702" y="5113"/>
                  <a:pt x="3103194" y="21"/>
                </a:cubicBezTo>
                <a:cubicBezTo>
                  <a:pt x="2010159" y="-5071"/>
                  <a:pt x="330700" y="958466"/>
                  <a:pt x="0" y="1413763"/>
                </a:cubicBezTo>
              </a:path>
            </a:pathLst>
          </a:custGeom>
          <a:ln w="57150" cap="rnd">
            <a:solidFill>
              <a:srgbClr val="37B6C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1173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71E74-B32A-F32C-82AB-E96342D90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1D3B52D-E478-6B71-6F2F-9BB893AE420D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31A14C-DA5D-A134-90E0-2367AAE5B9FD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1E28C209-7CA2-28FE-7753-02346874A9C0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732AD89-7713-653C-0D40-DDE21D825153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9B92AA7-1792-70AF-6296-C6B4D635C879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AF7FE3D6-2909-0589-1208-3E32767013FF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8D6EB2-8CED-B892-FBE2-CCB24F4BA430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A7328-390E-187D-084C-8B0AFF576387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EC36EB-00B2-CA59-964D-73EDF89E226E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1F6BD6-E5C5-6316-4307-F7C6507DF97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55D9DB-3FFB-A794-C9F1-B51F8F038E5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EE151B-55CF-C337-6F7B-C313F1DD22A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AAC1658-E83C-42F3-F314-C82A90408EC3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B2B678-7777-0D95-236A-5E4D90F0CA4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568BE-D73F-BE5D-00DE-3184699131A0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85BAD-FB58-8423-F013-79E1EF22864C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>
                    <a:alpha val="25172"/>
                  </a:srgbClr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5172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8823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4DBD-C0A7-A7C6-4619-ACFA9A3A0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5B18608-0AD0-2ECC-7357-4C5967778F0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2DF4D68-307A-E491-AF8F-57FDF6ADBFFC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896F3F2-8868-DFDE-5B94-AB244E48747B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111BBD2A-7AB6-C82D-9A96-BFC2DB02A08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AB9BDEA-A4F6-FF86-A26F-6B67BDF28AD3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C8A4204-AEA5-4333-3CC1-EDF86A22886D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3D3A2-95EB-EF5B-C14A-082264AC984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4C4A6-5774-6BB1-F975-E6FA4611845A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1A7E6-9475-0370-CAC1-74C9550F7E40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3B478-C366-0B58-68ED-793672B2F056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AFAC4E-2725-CC20-9D56-F4F4ADE1903F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C7966-4E64-5C45-6D2B-E072E175247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0F79A07-4711-F4CA-6716-349B3749EF62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3883E8-A7C4-EFAF-D53F-D81FC2AB6C0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1722A4-02C4-3C9E-E783-9DCBAA41144F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C87C1-5BA0-6540-7C7E-B1ECA4195BD8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9225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0786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5186F-1DE3-DE6C-2274-A772094D3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256E330-3084-9E4B-BDFB-55C8F9ED711C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65CDD64-B2D8-6FE2-86EF-99CBA4EF5D37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9EEFC0A8-23CD-1632-4519-2DC78611281A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8AFC434-DA14-BE11-A353-B38D5D36B09B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4238B04-E889-9ACE-D9FE-E662D77C2B17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96FF686-6098-712F-48CD-E9B708FFF7A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54D2C-656A-77FF-81A6-F58D1D117823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949A8F-EC46-8ED7-E0B3-B03B20DF00E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EDD186-255C-B6EF-5A2F-51B6DDBDF5FB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1D762-9772-9FDD-9BD5-E1D5DF62B819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C1F02-1B08-7A1B-E01A-3DB1BCF1C1A6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58F0C5-E580-50EA-B683-3207272ECA9F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EA9A341-BCCC-4256-BF80-CA273390F4B9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B5D7E-2704-984F-35DF-694AF01FE3BF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CE9BA8-16CA-20AA-A354-6AC8AD7FBA65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3588-31B1-65E2-FFA6-DA99A5E383F4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687184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FF6F9EE-8AD0-F1E2-3CA4-8CD747083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F43AB7-6177-601F-9A32-E1BAC1D1199D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304188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31C382A-2F27-7905-2AAA-831C1506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FCBE3A-0496-C30A-0AF2-D756CB7B8586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C0AA41-AAD3-F502-A048-5FACF58BACF4}"/>
              </a:ext>
            </a:extLst>
          </p:cNvPr>
          <p:cNvSpPr txBox="1"/>
          <p:nvPr/>
        </p:nvSpPr>
        <p:spPr>
          <a:xfrm>
            <a:off x="4696691" y="2409104"/>
            <a:ext cx="3172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ll cover these during the live demo port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9D02FEA-2286-8AB8-CEEB-903AA3E142AC}"/>
              </a:ext>
            </a:extLst>
          </p:cNvPr>
          <p:cNvSpPr/>
          <p:nvPr/>
        </p:nvSpPr>
        <p:spPr>
          <a:xfrm>
            <a:off x="1205345" y="2189018"/>
            <a:ext cx="3318726" cy="1468582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3942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5303D-98CA-8DB6-35EE-D6DE5B89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C0496A2-66B3-0C21-D9CC-57DCD67F823A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6E4613-C646-A440-106F-123677185C13}"/>
              </a:ext>
            </a:extLst>
          </p:cNvPr>
          <p:cNvSpPr txBox="1"/>
          <p:nvPr/>
        </p:nvSpPr>
        <p:spPr>
          <a:xfrm>
            <a:off x="4488872" y="3607376"/>
            <a:ext cx="3172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 want to spend some time talking about color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ADB5183-039B-F296-A816-1D04681181D9}"/>
              </a:ext>
            </a:extLst>
          </p:cNvPr>
          <p:cNvSpPr/>
          <p:nvPr/>
        </p:nvSpPr>
        <p:spPr>
          <a:xfrm>
            <a:off x="1108363" y="3529168"/>
            <a:ext cx="2757055" cy="987414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7875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556ACE-1203-C9ED-4B8A-795020342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7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8A09B2-BFEB-05F1-0B7C-6180FFF79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626" y="365125"/>
            <a:ext cx="7904747" cy="1325563"/>
          </a:xfrm>
        </p:spPr>
        <p:txBody>
          <a:bodyPr vert="horz"/>
          <a:lstStyle/>
          <a:p>
            <a:r>
              <a:rPr lang="en-US" dirty="0"/>
              <a:t>ggplot2 default colors for factor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32FEB0-01EA-2004-C5F6-22A133DA1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453" y="1690688"/>
            <a:ext cx="5709652" cy="464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69384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DA8C56-97DC-3F42-75F8-09905DC3998E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A90EA-116A-593D-756A-7124DD2B8F8A}"/>
              </a:ext>
            </a:extLst>
          </p:cNvPr>
          <p:cNvSpPr/>
          <p:nvPr/>
        </p:nvSpPr>
        <p:spPr>
          <a:xfrm>
            <a:off x="580768" y="3504981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58C5F-0393-D9AA-A465-C00792DE1B54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12C432-962D-5E75-05A8-92C960351965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1439114-4EE5-ADE6-695B-02F66D0CEFEF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1519762-F7FA-409F-64E3-A4EA96B96D5D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B85911B-74BB-5EED-55D8-5EB80B19B9A6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8512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1B47D-7AF4-55AC-91C4-8C0518C85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4FC02A5-1B78-CC33-8416-064BBF3DFD0A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F3563F-BB30-1157-83E6-B4980E74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48883"/>
            <a:ext cx="4378036" cy="45068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7E0745-F898-2C68-671C-EEEDA2236972}"/>
              </a:ext>
            </a:extLst>
          </p:cNvPr>
          <p:cNvSpPr txBox="1"/>
          <p:nvPr/>
        </p:nvSpPr>
        <p:spPr>
          <a:xfrm>
            <a:off x="5696768" y="647016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+</a:t>
            </a:r>
          </a:p>
          <a:p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</a:t>
            </a:r>
            <a:endParaRPr lang="en-US" sz="1600" dirty="0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370223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A6EC6-8BF2-3758-5E0D-31A27F2A1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86C9CA-C3AB-FFFC-7B65-B42D1DF9B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5D16B-BB69-796D-EC69-2694AB1E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848E197-E9C5-8086-42EE-5F45EC02E1C3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E0AF67-4B26-0187-29C6-54FBEFBA2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CD617B-9F63-CE4E-33D6-CF1882E16C9E}"/>
              </a:ext>
            </a:extLst>
          </p:cNvPr>
          <p:cNvSpPr txBox="1"/>
          <p:nvPr/>
        </p:nvSpPr>
        <p:spPr>
          <a:xfrm>
            <a:off x="5696768" y="435163"/>
            <a:ext cx="6495232" cy="776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gplot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happy,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continent))+</a:t>
            </a:r>
          </a:p>
          <a:p>
            <a:pPr>
              <a:lnSpc>
                <a:spcPts val="2760"/>
              </a:lnSpc>
            </a:pP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      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eom_bar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‘Asia’)</a:t>
            </a:r>
            <a:r>
              <a:rPr lang="en-US" dirty="0">
                <a:latin typeface="Monaco" pitchFamily="2" charset="7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717899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BE6D7E38-579A-D595-2C8D-4C7A28512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939" y="133785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4870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5D16B-BB69-796D-EC69-2694AB1E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9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B37D857D-282D-6CFC-F890-3EC83B3A36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53D876-76A3-7436-11FB-A233EC51B1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0935" y="2000733"/>
            <a:ext cx="5409723" cy="437526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370F150-9EA6-9182-EED9-8E016CB2FABB}"/>
              </a:ext>
            </a:extLst>
          </p:cNvPr>
          <p:cNvSpPr/>
          <p:nvPr/>
        </p:nvSpPr>
        <p:spPr>
          <a:xfrm>
            <a:off x="483518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2856A-4B3F-2BA9-9214-B8787A75F9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D986FE-A25C-1E99-4EBB-FB00B10895A1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‘Asia’))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0853648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53BBEC2B-7AF4-BEC3-6FAD-3098F15FC7E7}"/>
              </a:ext>
            </a:extLst>
          </p:cNvPr>
          <p:cNvSpPr/>
          <p:nvPr/>
        </p:nvSpPr>
        <p:spPr>
          <a:xfrm>
            <a:off x="454545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11CF0-8BC9-8EA6-7284-6FE9BEB36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62" y="2014962"/>
            <a:ext cx="5467669" cy="44221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DC1040-E3EF-CB40-CAA7-2DB826BEE6F0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 err="1">
                <a:latin typeface="Monaco" pitchFamily="2" charset="77"/>
              </a:rPr>
              <a:t>scale_fill_brewer</a:t>
            </a:r>
            <a:r>
              <a:rPr lang="en-US" dirty="0">
                <a:latin typeface="Monaco" pitchFamily="2" charset="77"/>
              </a:rPr>
              <a:t>(palette = “Accent”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D67F92-F2BC-AD31-F7D2-129007D61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5545" y="1708896"/>
            <a:ext cx="5939281" cy="4674979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033FA5D-696D-23C1-E6B1-B6B264C57D49}"/>
              </a:ext>
            </a:extLst>
          </p:cNvPr>
          <p:cNvSpPr/>
          <p:nvPr/>
        </p:nvSpPr>
        <p:spPr>
          <a:xfrm>
            <a:off x="6668248" y="1193526"/>
            <a:ext cx="5288974" cy="473805"/>
          </a:xfrm>
          <a:prstGeom prst="roundRect">
            <a:avLst/>
          </a:prstGeom>
          <a:noFill/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49828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79284-0A37-601D-6A73-E641B89F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B242FE50-3C38-ABF7-16DD-6586AE93F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904EC1-D388-BAFF-D257-AB327BA9CEAB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3B17020-A4B0-791B-CF4B-CAC85F81C2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2697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4A9268DB-AF1E-575F-51FC-9FF8E67C0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B8C26B2-8BAC-F2CA-F1ED-660F28ACB029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25F49C6-3F69-C6BC-631D-29DAA2C5B3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8CEC680-516A-592B-5C48-A7747F62EFB5}"/>
              </a:ext>
            </a:extLst>
          </p:cNvPr>
          <p:cNvSpPr/>
          <p:nvPr/>
        </p:nvSpPr>
        <p:spPr>
          <a:xfrm>
            <a:off x="7295611" y="2835305"/>
            <a:ext cx="854476" cy="448192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9EFB89-E7A7-FF7E-061A-7FFD29C8FC24}"/>
              </a:ext>
            </a:extLst>
          </p:cNvPr>
          <p:cNvSpPr/>
          <p:nvPr/>
        </p:nvSpPr>
        <p:spPr>
          <a:xfrm>
            <a:off x="0" y="2340864"/>
            <a:ext cx="4313873" cy="1088136"/>
          </a:xfrm>
          <a:prstGeom prst="roundRect">
            <a:avLst/>
          </a:prstGeom>
          <a:solidFill>
            <a:schemeClr val="bg1"/>
          </a:solidFill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4AE7A29-741C-081D-2A4B-E2F46D8007B5}"/>
              </a:ext>
            </a:extLst>
          </p:cNvPr>
          <p:cNvSpPr/>
          <p:nvPr/>
        </p:nvSpPr>
        <p:spPr>
          <a:xfrm>
            <a:off x="7295611" y="6400800"/>
            <a:ext cx="854476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0E31A8-0757-DDCB-C55E-C4A18A579374}"/>
              </a:ext>
            </a:extLst>
          </p:cNvPr>
          <p:cNvSpPr/>
          <p:nvPr/>
        </p:nvSpPr>
        <p:spPr>
          <a:xfrm>
            <a:off x="4453309" y="6454064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59B3D18-CB62-92A3-FAED-FDF6DBD9FB10}"/>
              </a:ext>
            </a:extLst>
          </p:cNvPr>
          <p:cNvSpPr/>
          <p:nvPr/>
        </p:nvSpPr>
        <p:spPr>
          <a:xfrm>
            <a:off x="4453309" y="2902219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1AC9AF-0637-B8B2-1226-439910BB75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8" b="10778"/>
          <a:stretch/>
        </p:blipFill>
        <p:spPr>
          <a:xfrm>
            <a:off x="86817" y="2618698"/>
            <a:ext cx="4097256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474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4EBB6-690A-330B-6E05-8DB0B3EDB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AB5F6BD-3050-0DA8-1CEA-1D86798AD508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F750623-6D99-B260-8061-A916B5357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28122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B42B53C-A769-1F23-A00B-581DA3B94D5E}"/>
              </a:ext>
            </a:extLst>
          </p:cNvPr>
          <p:cNvSpPr/>
          <p:nvPr/>
        </p:nvSpPr>
        <p:spPr>
          <a:xfrm>
            <a:off x="950529" y="3091165"/>
            <a:ext cx="4812710" cy="393192"/>
          </a:xfrm>
          <a:prstGeom prst="roundRect">
            <a:avLst/>
          </a:prstGeom>
          <a:noFill/>
          <a:ln w="19050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C760A1F6-00A4-E2AA-6296-133FB8704C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574644-5868-21FE-BE71-059382DEF70B}"/>
              </a:ext>
            </a:extLst>
          </p:cNvPr>
          <p:cNvSpPr txBox="1"/>
          <p:nvPr/>
        </p:nvSpPr>
        <p:spPr>
          <a:xfrm>
            <a:off x="172023" y="2322741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       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  <a:endParaRPr lang="en-US" dirty="0">
              <a:latin typeface="Monaco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099A5B-AF49-8F86-6429-42FD4F6F0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3239" y="1384560"/>
            <a:ext cx="6428761" cy="41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5964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BBA86-CD8B-A51A-80CF-293AC347A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7FCCDAF-F2F0-BFA1-B4DA-DE6C0B3AD4D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E65DA9F-CF87-B133-4E26-B47DBDF91901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FBC2B26-554D-8AD4-11FF-88505832A8BF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CB85B19-EA37-77CA-9896-128E595E13E8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0AAC15B-DC25-B038-4B3A-4DDA85318962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C5277EE-12E4-2061-71DD-3F5AB6C121E9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21443-8699-5420-9144-7AB6398F5CC6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25B665-073A-8C77-41BA-93B0F5A615A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FB10E0-4EF3-EC10-5ED4-881CFAE59A8D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BF5D65-1410-CA83-8694-A4071546673C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AEF1E2-D08E-4B5B-3D85-AA7DAE745CE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5F1104-679F-A32B-F24E-BF84CE894494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A9E92988-BD3E-B1BA-40DA-EC508D6B035C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59975B-CE2B-01AB-4C91-69731CBC87A6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6296-A412-E96E-35E9-83C23D26142B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CD8DA0D7-30D9-CA45-8481-D0E9B3BE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F05E1-7C80-C2A5-9545-AA71B979EB9A}"/>
              </a:ext>
            </a:extLst>
          </p:cNvPr>
          <p:cNvSpPr/>
          <p:nvPr/>
        </p:nvSpPr>
        <p:spPr>
          <a:xfrm>
            <a:off x="8450" y="2072640"/>
            <a:ext cx="2551870" cy="2575560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7137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20477-68A6-4395-5CE7-FD06B2189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150F99-9B38-2E89-44EE-2DF009A662C5}"/>
              </a:ext>
            </a:extLst>
          </p:cNvPr>
          <p:cNvSpPr txBox="1"/>
          <p:nvPr/>
        </p:nvSpPr>
        <p:spPr>
          <a:xfrm>
            <a:off x="327869" y="562722"/>
            <a:ext cx="5667737" cy="1129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102F345-8406-98E5-DE3B-E30B9ED1E317}"/>
              </a:ext>
            </a:extLst>
          </p:cNvPr>
          <p:cNvSpPr/>
          <p:nvPr/>
        </p:nvSpPr>
        <p:spPr>
          <a:xfrm>
            <a:off x="6992815" y="1691749"/>
            <a:ext cx="2278743" cy="458411"/>
          </a:xfrm>
          <a:prstGeom prst="roundRect">
            <a:avLst>
              <a:gd name="adj" fmla="val 32498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737F61-2261-E579-2BC7-60C9546E3B25}"/>
              </a:ext>
            </a:extLst>
          </p:cNvPr>
          <p:cNvSpPr txBox="1"/>
          <p:nvPr/>
        </p:nvSpPr>
        <p:spPr>
          <a:xfrm>
            <a:off x="6196396" y="56272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E6D2AC-5CB2-EA06-16EB-970BD4BEF7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714730" y="2220500"/>
            <a:ext cx="5140946" cy="43538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44AE2F-7DBE-382E-38B5-C6DE222462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866"/>
          <a:stretch/>
        </p:blipFill>
        <p:spPr>
          <a:xfrm>
            <a:off x="6541663" y="2220500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1229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77E77-8990-84DE-4D83-7953176B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5951A58-6372-947F-68F4-B46309584CA3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4F61307-6089-D617-53DD-E6A4F6F81320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61CD8771-5193-B776-688E-08E9B0A420F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A8BE6A6-45AC-F8EE-CE21-4550BD403E2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10C735-DC7C-4A5F-0C0E-15E1BE14132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B8AE87D-E6DC-58B0-B3FE-0FDDB61B1A57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E19B5-02AA-6D4D-A9A7-6B930FFE0DF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28FB1-A288-6D90-05F1-98AFC9C35C36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5B0090-E2C2-5BC3-F04B-55E0D497F61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DC0F8B-39B7-5E0C-D93D-43CF3F0824E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1AD2E8-C943-1DBA-757C-CB516716F2CD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4F20A0-7099-1D60-246E-810030F85A5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F054F5D-A406-134A-736D-D72A02DF6A7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11E366-6515-7F33-1633-E7A961AE9DC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0F63E3-FD37-C436-DCDF-B9F2D36A633D}"/>
              </a:ext>
            </a:extLst>
          </p:cNvPr>
          <p:cNvSpPr txBox="1"/>
          <p:nvPr/>
        </p:nvSpPr>
        <p:spPr>
          <a:xfrm>
            <a:off x="403796" y="347463"/>
            <a:ext cx="5599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60 pre-existing them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808E3B-560E-5137-398D-7A3D88851C14}"/>
              </a:ext>
            </a:extLst>
          </p:cNvPr>
          <p:cNvSpPr txBox="1"/>
          <p:nvPr/>
        </p:nvSpPr>
        <p:spPr>
          <a:xfrm>
            <a:off x="1214754" y="6169613"/>
            <a:ext cx="5787295" cy="52322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en-US" sz="2800" dirty="0"/>
              <a:t>https://r-</a:t>
            </a:r>
            <a:r>
              <a:rPr lang="en-US" sz="2800" dirty="0" err="1"/>
              <a:t>charts.com</a:t>
            </a:r>
            <a:r>
              <a:rPr lang="en-US" sz="2800" dirty="0"/>
              <a:t>/ggplot2/themes/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EB2DA4D-A6FF-498B-7CE9-BDC67325A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397" y="1134101"/>
            <a:ext cx="2320978" cy="2294900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7786F9BB-8EF0-C24D-BD1B-8F0FB25A5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95" y="3753974"/>
            <a:ext cx="2149944" cy="2156035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0098451D-6F27-9120-D37E-4278A0ED3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0443" y="3753974"/>
            <a:ext cx="2213338" cy="2156035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01F5335-824D-28E0-10D9-7DFED9956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86"/>
          <a:stretch/>
        </p:blipFill>
        <p:spPr>
          <a:xfrm>
            <a:off x="2760443" y="1156419"/>
            <a:ext cx="2213338" cy="2323407"/>
          </a:xfrm>
          <a:prstGeom prst="rect">
            <a:avLst/>
          </a:prstGeom>
          <a:ln>
            <a:noFill/>
          </a:ln>
        </p:spPr>
      </p:pic>
      <p:pic>
        <p:nvPicPr>
          <p:cNvPr id="29" name="Picture 2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D98C016-34A2-7491-141A-653835914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05" y="1156419"/>
            <a:ext cx="2316844" cy="2323407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FCA257-D4D3-0DB2-B99D-2E3CD3BDB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605" y="3739430"/>
            <a:ext cx="2316844" cy="21705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205801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48087-26A6-0107-E573-3A0970682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D155477-2403-04E1-345C-D44FF13A31EF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C0950D-C71E-23BA-C03B-B773B4056B9F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7DBDDF4B-A21E-1493-BAED-51AF0C4A2BC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838BEE7-C798-34F4-1DEB-44884C551912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CBC0DF86-6BFD-2B9F-A2B9-3078FA8233F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6D5BED5-1645-A48A-93C0-8F5A52D5C31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CBE434-5245-76E2-F74B-F17ED5D6EAAC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CEB55A-B97B-ED72-1F89-85DF1E082BF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084E22-C832-CD88-3F3D-A038F9EC72CF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83C2A-CEB8-A3E7-7122-589D367E6D2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9A4202-C22A-F7D4-8B29-B79D3290ACB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EB8D-C068-A792-6729-B082D576D72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2FA5255-49B2-6FFC-0903-11EF7333913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1D618F-29B3-B71C-5A2C-9ED55FD32C5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A409E8-3C7B-C4D5-785D-44E46AEAE408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DBA75133-8E78-405C-0DAB-976DBC992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17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F4FC3-DA7E-32D7-618E-EDF0A1B53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5FE6F5-B4DA-43F5-327D-6EB7A6C21777}"/>
              </a:ext>
            </a:extLst>
          </p:cNvPr>
          <p:cNvSpPr txBox="1"/>
          <p:nvPr/>
        </p:nvSpPr>
        <p:spPr>
          <a:xfrm>
            <a:off x="926629" y="3953403"/>
            <a:ext cx="72551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A79B9A9-8F80-68BC-1F29-C0B84CCA2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78177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335DA861-1447-DEEE-A9E6-EE05BB207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080" y="837711"/>
            <a:ext cx="3467100" cy="5499100"/>
          </a:xfrm>
          <a:prstGeom prst="rect">
            <a:avLst/>
          </a:prstGeom>
        </p:spPr>
      </p:pic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5D6A6B4E-D7F5-9AE8-5776-3FFBD8AE9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0578" y="1107830"/>
            <a:ext cx="2671440" cy="5228981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9DDA5CF-CD43-23FE-018A-3E04D50811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8800" y="1125414"/>
            <a:ext cx="2309036" cy="5228982"/>
          </a:xfrm>
          <a:prstGeom prst="rect">
            <a:avLst/>
          </a:prstGeom>
        </p:spPr>
      </p:pic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0719D7D-5546-9AB9-F313-9EB10B6CD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2058" y="1125414"/>
            <a:ext cx="2377726" cy="52289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55E64-1C9F-8EEE-9CAC-47F893D989B4}"/>
              </a:ext>
            </a:extLst>
          </p:cNvPr>
          <p:cNvSpPr txBox="1"/>
          <p:nvPr/>
        </p:nvSpPr>
        <p:spPr>
          <a:xfrm>
            <a:off x="441080" y="175846"/>
            <a:ext cx="3884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?theme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C8712D-402A-BE34-D37C-39C265D50A05}"/>
              </a:ext>
            </a:extLst>
          </p:cNvPr>
          <p:cNvSpPr txBox="1"/>
          <p:nvPr/>
        </p:nvSpPr>
        <p:spPr>
          <a:xfrm>
            <a:off x="10592681" y="6062008"/>
            <a:ext cx="971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1326238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18B27A2-22E9-D9E9-70EC-E72B3A9E4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0D76900-8466-E853-B21B-7104535490AF}"/>
              </a:ext>
            </a:extLst>
          </p:cNvPr>
          <p:cNvSpPr txBox="1"/>
          <p:nvPr/>
        </p:nvSpPr>
        <p:spPr>
          <a:xfrm>
            <a:off x="264519" y="52755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F4F3DF-4F96-EBEC-F093-51928D671B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79958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783B703-8319-F8CD-D10C-07D9E2F67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0A552F4-D446-2E4F-1B94-9EF24C02942B}"/>
              </a:ext>
            </a:extLst>
          </p:cNvPr>
          <p:cNvSpPr txBox="1"/>
          <p:nvPr/>
        </p:nvSpPr>
        <p:spPr>
          <a:xfrm>
            <a:off x="264519" y="527551"/>
            <a:ext cx="6025098" cy="242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theme(</a:t>
            </a:r>
            <a:r>
              <a:rPr lang="en-US" sz="1600" dirty="0" err="1">
                <a:latin typeface="Monaco" pitchFamily="2" charset="77"/>
              </a:rPr>
              <a:t>axis.line.x.bottom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              </a:t>
            </a:r>
            <a:r>
              <a:rPr lang="en-US" sz="1600" dirty="0" err="1">
                <a:latin typeface="Monaco" pitchFamily="2" charset="77"/>
              </a:rPr>
              <a:t>axis.line.y.left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F18248-FCB8-7A7B-0B20-59395B4736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857F8C1-518D-1980-E6EA-D1D9A19A64CD}"/>
              </a:ext>
            </a:extLst>
          </p:cNvPr>
          <p:cNvSpPr/>
          <p:nvPr/>
        </p:nvSpPr>
        <p:spPr>
          <a:xfrm>
            <a:off x="1072662" y="2198077"/>
            <a:ext cx="5140946" cy="931985"/>
          </a:xfrm>
          <a:prstGeom prst="roundRect">
            <a:avLst/>
          </a:prstGeom>
          <a:noFill/>
          <a:ln w="19050">
            <a:solidFill>
              <a:schemeClr val="accent1">
                <a:shade val="15000"/>
                <a:alpha val="80724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904177-8B5C-33EF-0CF2-80BD4F9096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19116"/>
          <a:stretch/>
        </p:blipFill>
        <p:spPr>
          <a:xfrm>
            <a:off x="6365626" y="1411607"/>
            <a:ext cx="4923697" cy="42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9692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9" y="43438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17" y="357872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94" y="278423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52" y="212025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13" y="144241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50" y="7409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30" y="117655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30" y="186476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30" y="25500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30" y="321011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30" y="400399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30" y="478682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7172FD9-066A-7BE9-B793-BC5DF5F071BC}"/>
              </a:ext>
            </a:extLst>
          </p:cNvPr>
          <p:cNvSpPr/>
          <p:nvPr/>
        </p:nvSpPr>
        <p:spPr>
          <a:xfrm rot="1070933" flipH="1">
            <a:off x="9522334" y="5507316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8828D9-5666-93BF-478B-E6414016C849}"/>
              </a:ext>
            </a:extLst>
          </p:cNvPr>
          <p:cNvSpPr txBox="1"/>
          <p:nvPr/>
        </p:nvSpPr>
        <p:spPr>
          <a:xfrm>
            <a:off x="7911178" y="564694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Exporting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A7B291E-C911-032B-EE54-F880560C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112" y="1808241"/>
            <a:ext cx="5080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08BA2A-A66D-1913-852A-08C410A85D6C}"/>
              </a:ext>
            </a:extLst>
          </p:cNvPr>
          <p:cNvSpPr txBox="1"/>
          <p:nvPr/>
        </p:nvSpPr>
        <p:spPr>
          <a:xfrm>
            <a:off x="5979175" y="4677409"/>
            <a:ext cx="621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94996"/>
                </a:solidFill>
              </a:rPr>
              <a:t>.pdf</a:t>
            </a:r>
          </a:p>
        </p:txBody>
      </p:sp>
    </p:spTree>
    <p:extLst>
      <p:ext uri="{BB962C8B-B14F-4D97-AF65-F5344CB8AC3E}">
        <p14:creationId xmlns:p14="http://schemas.microsoft.com/office/powerpoint/2010/main" val="36861857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4F0ED2C-EC24-D518-6164-E6D4B69F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239" y="294833"/>
            <a:ext cx="8825345" cy="626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857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549D4B-2348-7C16-002F-29570FD90468}"/>
              </a:ext>
            </a:extLst>
          </p:cNvPr>
          <p:cNvSpPr txBox="1"/>
          <p:nvPr/>
        </p:nvSpPr>
        <p:spPr>
          <a:xfrm>
            <a:off x="4203986" y="1570011"/>
            <a:ext cx="3219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Lets give it a try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2BFC170-AD2B-B795-0993-ECFA22045070}"/>
              </a:ext>
            </a:extLst>
          </p:cNvPr>
          <p:cNvSpPr/>
          <p:nvPr/>
        </p:nvSpPr>
        <p:spPr>
          <a:xfrm>
            <a:off x="674652" y="2735656"/>
            <a:ext cx="10277856" cy="911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err="1">
                <a:solidFill>
                  <a:srgbClr val="C45344"/>
                </a:solidFill>
              </a:rPr>
              <a:t>github.com</a:t>
            </a:r>
            <a:r>
              <a:rPr lang="en-US" sz="3600" dirty="0">
                <a:solidFill>
                  <a:srgbClr val="C45344"/>
                </a:solidFill>
              </a:rPr>
              <a:t>/</a:t>
            </a:r>
            <a:r>
              <a:rPr lang="en-US" sz="3600" dirty="0" err="1">
                <a:solidFill>
                  <a:srgbClr val="C45344"/>
                </a:solidFill>
              </a:rPr>
              <a:t>laurennichols</a:t>
            </a:r>
            <a:r>
              <a:rPr lang="en-US" sz="3600" dirty="0">
                <a:solidFill>
                  <a:srgbClr val="C45344"/>
                </a:solidFill>
              </a:rPr>
              <a:t>/ggplot2_workshop</a:t>
            </a:r>
          </a:p>
        </p:txBody>
      </p:sp>
    </p:spTree>
    <p:extLst>
      <p:ext uri="{BB962C8B-B14F-4D97-AF65-F5344CB8AC3E}">
        <p14:creationId xmlns:p14="http://schemas.microsoft.com/office/powerpoint/2010/main" val="389471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940712" y="122811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940712" y="191632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940712" y="260158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940712" y="32616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940712" y="405555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940712" y="483838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30E48-7643-8F34-8493-9E9FC85A1F9B}"/>
              </a:ext>
            </a:extLst>
          </p:cNvPr>
          <p:cNvSpPr txBox="1"/>
          <p:nvPr/>
        </p:nvSpPr>
        <p:spPr>
          <a:xfrm>
            <a:off x="926629" y="3953403"/>
            <a:ext cx="725510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</a:p>
          <a:p>
            <a:endParaRPr lang="en-US" sz="32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 pitchFamily="2" charset="0"/>
              </a:rPr>
              <a:t>Graphics are built by layering elements</a:t>
            </a:r>
          </a:p>
          <a:p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2B10A4A-FB2C-32E1-CEDF-971FA7405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045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525</TotalTime>
  <Words>2438</Words>
  <Application>Microsoft Macintosh PowerPoint</Application>
  <PresentationFormat>Widescreen</PresentationFormat>
  <Paragraphs>567</Paragraphs>
  <Slides>85</Slides>
  <Notes>24</Notes>
  <HiddenSlides>13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5</vt:i4>
      </vt:variant>
    </vt:vector>
  </HeadingPairs>
  <TitlesOfParts>
    <vt:vector size="97" baseType="lpstr">
      <vt:lpstr>Andale Mono</vt:lpstr>
      <vt:lpstr>Arial</vt:lpstr>
      <vt:lpstr>Calibri</vt:lpstr>
      <vt:lpstr>Calibri Light</vt:lpstr>
      <vt:lpstr>Helvetica</vt:lpstr>
      <vt:lpstr>Lucida Console</vt:lpstr>
      <vt:lpstr>Monaco</vt:lpstr>
      <vt:lpstr>Source Sans Pro</vt:lpstr>
      <vt:lpstr>SourceSansPro</vt:lpstr>
      <vt:lpstr>Wingdings</vt:lpstr>
      <vt:lpstr>Office Theme</vt:lpstr>
      <vt:lpstr>think-cell Slide</vt:lpstr>
      <vt:lpstr>PowerPoint Presentation</vt:lpstr>
      <vt:lpstr>PowerPoint Presentation</vt:lpstr>
      <vt:lpstr>Center for Data &amp; Visualization Sciences (CDV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gplot2 default colors for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Nichols (she/her/hers)</dc:creator>
  <cp:lastModifiedBy>Lauren Nichols (she/her/hers)</cp:lastModifiedBy>
  <cp:revision>18</cp:revision>
  <cp:lastPrinted>2023-08-24T18:51:06Z</cp:lastPrinted>
  <dcterms:created xsi:type="dcterms:W3CDTF">2023-08-24T18:44:09Z</dcterms:created>
  <dcterms:modified xsi:type="dcterms:W3CDTF">2024-08-21T17:24:24Z</dcterms:modified>
</cp:coreProperties>
</file>